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257" r:id="rId2"/>
    <p:sldId id="275" r:id="rId3"/>
    <p:sldId id="288" r:id="rId4"/>
    <p:sldId id="290" r:id="rId5"/>
    <p:sldId id="283" r:id="rId6"/>
    <p:sldId id="300" r:id="rId7"/>
    <p:sldId id="284" r:id="rId8"/>
    <p:sldId id="287" r:id="rId9"/>
    <p:sldId id="262" r:id="rId10"/>
    <p:sldId id="292" r:id="rId11"/>
    <p:sldId id="293" r:id="rId12"/>
    <p:sldId id="294" r:id="rId13"/>
    <p:sldId id="298" r:id="rId14"/>
    <p:sldId id="264" r:id="rId15"/>
    <p:sldId id="295" r:id="rId16"/>
    <p:sldId id="296" r:id="rId17"/>
    <p:sldId id="297" r:id="rId18"/>
    <p:sldId id="270" r:id="rId19"/>
  </p:sldIdLst>
  <p:sldSz cx="12192000" cy="6858000"/>
  <p:notesSz cx="6858000" cy="9144000"/>
  <p:custDataLst>
    <p:tags r:id="rId21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4D9300-F2C6-3E45-A5CE-AEFA312B60A1}" v="198" dt="2023-02-13T04:40:07.04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73"/>
    <p:restoredTop sz="94626"/>
  </p:normalViewPr>
  <p:slideViewPr>
    <p:cSldViewPr snapToGrid="0">
      <p:cViewPr varScale="1">
        <p:scale>
          <a:sx n="121" d="100"/>
          <a:sy n="121" d="100"/>
        </p:scale>
        <p:origin x="632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go Bethke" userId="0ace9986-83c7-40d8-aadc-a8d8d7c841c6" providerId="ADAL" clId="{644D9300-F2C6-3E45-A5CE-AEFA312B60A1}"/>
    <pc:docChg chg="undo custSel addSld delSld modSld">
      <pc:chgData name="Ingo Bethke" userId="0ace9986-83c7-40d8-aadc-a8d8d7c841c6" providerId="ADAL" clId="{644D9300-F2C6-3E45-A5CE-AEFA312B60A1}" dt="2023-02-13T04:43:02.899" v="9629" actId="20577"/>
      <pc:docMkLst>
        <pc:docMk/>
      </pc:docMkLst>
      <pc:sldChg chg="addSp delSp modSp mod">
        <pc:chgData name="Ingo Bethke" userId="0ace9986-83c7-40d8-aadc-a8d8d7c841c6" providerId="ADAL" clId="{644D9300-F2C6-3E45-A5CE-AEFA312B60A1}" dt="2023-02-13T00:43:52.692" v="9166" actId="20577"/>
        <pc:sldMkLst>
          <pc:docMk/>
          <pc:sldMk cId="164068597" sldId="257"/>
        </pc:sldMkLst>
        <pc:spChg chg="add del mod">
          <ac:chgData name="Ingo Bethke" userId="0ace9986-83c7-40d8-aadc-a8d8d7c841c6" providerId="ADAL" clId="{644D9300-F2C6-3E45-A5CE-AEFA312B60A1}" dt="2023-02-13T00:40:47.210" v="9090" actId="478"/>
          <ac:spMkLst>
            <pc:docMk/>
            <pc:sldMk cId="164068597" sldId="257"/>
            <ac:spMk id="3" creationId="{00000000-0000-0000-0000-000000000000}"/>
          </ac:spMkLst>
        </pc:spChg>
        <pc:spChg chg="mod">
          <ac:chgData name="Ingo Bethke" userId="0ace9986-83c7-40d8-aadc-a8d8d7c841c6" providerId="ADAL" clId="{644D9300-F2C6-3E45-A5CE-AEFA312B60A1}" dt="2023-02-10T13:35:34.024" v="2812" actId="20577"/>
          <ac:spMkLst>
            <pc:docMk/>
            <pc:sldMk cId="164068597" sldId="257"/>
            <ac:spMk id="4" creationId="{00000000-0000-0000-0000-000000000000}"/>
          </ac:spMkLst>
        </pc:spChg>
        <pc:spChg chg="add del mod">
          <ac:chgData name="Ingo Bethke" userId="0ace9986-83c7-40d8-aadc-a8d8d7c841c6" providerId="ADAL" clId="{644D9300-F2C6-3E45-A5CE-AEFA312B60A1}" dt="2023-02-13T00:40:20.435" v="9072" actId="478"/>
          <ac:spMkLst>
            <pc:docMk/>
            <pc:sldMk cId="164068597" sldId="257"/>
            <ac:spMk id="7" creationId="{F29E32BC-D0CD-8131-1472-FF7DC5D59D11}"/>
          </ac:spMkLst>
        </pc:spChg>
        <pc:spChg chg="add del">
          <ac:chgData name="Ingo Bethke" userId="0ace9986-83c7-40d8-aadc-a8d8d7c841c6" providerId="ADAL" clId="{644D9300-F2C6-3E45-A5CE-AEFA312B60A1}" dt="2023-02-13T00:40:17.775" v="9070" actId="22"/>
          <ac:spMkLst>
            <pc:docMk/>
            <pc:sldMk cId="164068597" sldId="257"/>
            <ac:spMk id="9" creationId="{96263ABF-1DBC-3A8B-8D58-A43F13B82C1F}"/>
          </ac:spMkLst>
        </pc:spChg>
        <pc:spChg chg="add del mod">
          <ac:chgData name="Ingo Bethke" userId="0ace9986-83c7-40d8-aadc-a8d8d7c841c6" providerId="ADAL" clId="{644D9300-F2C6-3E45-A5CE-AEFA312B60A1}" dt="2023-02-13T00:43:14.349" v="9155" actId="478"/>
          <ac:spMkLst>
            <pc:docMk/>
            <pc:sldMk cId="164068597" sldId="257"/>
            <ac:spMk id="11" creationId="{2DE6F1F2-EE2A-556E-320B-409984A4861A}"/>
          </ac:spMkLst>
        </pc:spChg>
        <pc:spChg chg="add mod">
          <ac:chgData name="Ingo Bethke" userId="0ace9986-83c7-40d8-aadc-a8d8d7c841c6" providerId="ADAL" clId="{644D9300-F2C6-3E45-A5CE-AEFA312B60A1}" dt="2023-02-13T00:43:52.692" v="9166" actId="20577"/>
          <ac:spMkLst>
            <pc:docMk/>
            <pc:sldMk cId="164068597" sldId="257"/>
            <ac:spMk id="12" creationId="{8AD76E70-1D07-96B7-91CD-9A0D5E23A277}"/>
          </ac:spMkLst>
        </pc:spChg>
      </pc:sldChg>
      <pc:sldChg chg="addSp delSp modSp mod">
        <pc:chgData name="Ingo Bethke" userId="0ace9986-83c7-40d8-aadc-a8d8d7c841c6" providerId="ADAL" clId="{644D9300-F2C6-3E45-A5CE-AEFA312B60A1}" dt="2023-02-11T06:11:06.112" v="3917"/>
        <pc:sldMkLst>
          <pc:docMk/>
          <pc:sldMk cId="336954209" sldId="262"/>
        </pc:sldMkLst>
        <pc:spChg chg="mod">
          <ac:chgData name="Ingo Bethke" userId="0ace9986-83c7-40d8-aadc-a8d8d7c841c6" providerId="ADAL" clId="{644D9300-F2C6-3E45-A5CE-AEFA312B60A1}" dt="2023-02-11T06:11:06.112" v="3917"/>
          <ac:spMkLst>
            <pc:docMk/>
            <pc:sldMk cId="336954209" sldId="262"/>
            <ac:spMk id="2" creationId="{00000000-0000-0000-0000-000000000000}"/>
          </ac:spMkLst>
        </pc:spChg>
        <pc:spChg chg="del mod">
          <ac:chgData name="Ingo Bethke" userId="0ace9986-83c7-40d8-aadc-a8d8d7c841c6" providerId="ADAL" clId="{644D9300-F2C6-3E45-A5CE-AEFA312B60A1}" dt="2023-02-11T06:10:28.103" v="3910" actId="478"/>
          <ac:spMkLst>
            <pc:docMk/>
            <pc:sldMk cId="336954209" sldId="262"/>
            <ac:spMk id="3" creationId="{1059D8C1-A967-1F69-3272-E80B0A3A9FE6}"/>
          </ac:spMkLst>
        </pc:spChg>
        <pc:spChg chg="add del mod">
          <ac:chgData name="Ingo Bethke" userId="0ace9986-83c7-40d8-aadc-a8d8d7c841c6" providerId="ADAL" clId="{644D9300-F2C6-3E45-A5CE-AEFA312B60A1}" dt="2023-02-11T03:58:07.803" v="3664" actId="767"/>
          <ac:spMkLst>
            <pc:docMk/>
            <pc:sldMk cId="336954209" sldId="262"/>
            <ac:spMk id="5" creationId="{6C1EE183-1DEC-B057-3533-53E10C68787F}"/>
          </ac:spMkLst>
        </pc:spChg>
        <pc:spChg chg="mod">
          <ac:chgData name="Ingo Bethke" userId="0ace9986-83c7-40d8-aadc-a8d8d7c841c6" providerId="ADAL" clId="{644D9300-F2C6-3E45-A5CE-AEFA312B60A1}" dt="2023-02-11T03:46:03.259" v="3573" actId="1038"/>
          <ac:spMkLst>
            <pc:docMk/>
            <pc:sldMk cId="336954209" sldId="262"/>
            <ac:spMk id="9" creationId="{4241BC66-A971-C259-D14F-A0DE3E4EA690}"/>
          </ac:spMkLst>
        </pc:spChg>
        <pc:spChg chg="mod">
          <ac:chgData name="Ingo Bethke" userId="0ace9986-83c7-40d8-aadc-a8d8d7c841c6" providerId="ADAL" clId="{644D9300-F2C6-3E45-A5CE-AEFA312B60A1}" dt="2023-02-11T02:22:06.845" v="3197" actId="1035"/>
          <ac:spMkLst>
            <pc:docMk/>
            <pc:sldMk cId="336954209" sldId="262"/>
            <ac:spMk id="10" creationId="{94724678-3C10-8B64-70EC-C173BCE5B69D}"/>
          </ac:spMkLst>
        </pc:spChg>
        <pc:spChg chg="mod">
          <ac:chgData name="Ingo Bethke" userId="0ace9986-83c7-40d8-aadc-a8d8d7c841c6" providerId="ADAL" clId="{644D9300-F2C6-3E45-A5CE-AEFA312B60A1}" dt="2023-02-11T02:22:06.845" v="3197" actId="1035"/>
          <ac:spMkLst>
            <pc:docMk/>
            <pc:sldMk cId="336954209" sldId="262"/>
            <ac:spMk id="12" creationId="{813366CC-5AAD-6E62-D126-DD19919146CC}"/>
          </ac:spMkLst>
        </pc:spChg>
        <pc:spChg chg="add mod">
          <ac:chgData name="Ingo Bethke" userId="0ace9986-83c7-40d8-aadc-a8d8d7c841c6" providerId="ADAL" clId="{644D9300-F2C6-3E45-A5CE-AEFA312B60A1}" dt="2023-02-11T06:10:28.600" v="3911"/>
          <ac:spMkLst>
            <pc:docMk/>
            <pc:sldMk cId="336954209" sldId="262"/>
            <ac:spMk id="13" creationId="{84044614-051F-A653-4FA7-D8F2848B67B2}"/>
          </ac:spMkLst>
        </pc:spChg>
        <pc:spChg chg="add mod">
          <ac:chgData name="Ingo Bethke" userId="0ace9986-83c7-40d8-aadc-a8d8d7c841c6" providerId="ADAL" clId="{644D9300-F2C6-3E45-A5CE-AEFA312B60A1}" dt="2023-02-11T06:10:28.600" v="3911"/>
          <ac:spMkLst>
            <pc:docMk/>
            <pc:sldMk cId="336954209" sldId="262"/>
            <ac:spMk id="16" creationId="{EA2BE9D5-136F-9B43-4F17-606721DF4C40}"/>
          </ac:spMkLst>
        </pc:spChg>
        <pc:spChg chg="mod">
          <ac:chgData name="Ingo Bethke" userId="0ace9986-83c7-40d8-aadc-a8d8d7c841c6" providerId="ADAL" clId="{644D9300-F2C6-3E45-A5CE-AEFA312B60A1}" dt="2023-02-11T02:22:06.845" v="3197" actId="1035"/>
          <ac:spMkLst>
            <pc:docMk/>
            <pc:sldMk cId="336954209" sldId="262"/>
            <ac:spMk id="17" creationId="{D67ACB3E-DC6A-B2A8-203E-0D36E8A48131}"/>
          </ac:spMkLst>
        </pc:spChg>
        <pc:spChg chg="mod">
          <ac:chgData name="Ingo Bethke" userId="0ace9986-83c7-40d8-aadc-a8d8d7c841c6" providerId="ADAL" clId="{644D9300-F2C6-3E45-A5CE-AEFA312B60A1}" dt="2023-02-11T02:22:06.845" v="3197" actId="1035"/>
          <ac:spMkLst>
            <pc:docMk/>
            <pc:sldMk cId="336954209" sldId="262"/>
            <ac:spMk id="18" creationId="{8D7074DC-7B3F-7626-1E48-3A6C567DA483}"/>
          </ac:spMkLst>
        </pc:spChg>
        <pc:spChg chg="del mod">
          <ac:chgData name="Ingo Bethke" userId="0ace9986-83c7-40d8-aadc-a8d8d7c841c6" providerId="ADAL" clId="{644D9300-F2C6-3E45-A5CE-AEFA312B60A1}" dt="2023-02-11T06:10:26.041" v="3909" actId="478"/>
          <ac:spMkLst>
            <pc:docMk/>
            <pc:sldMk cId="336954209" sldId="262"/>
            <ac:spMk id="21" creationId="{BB0A9E55-ABB1-8354-528D-33799D5B5C5A}"/>
          </ac:spMkLst>
        </pc:spChg>
        <pc:spChg chg="mod">
          <ac:chgData name="Ingo Bethke" userId="0ace9986-83c7-40d8-aadc-a8d8d7c841c6" providerId="ADAL" clId="{644D9300-F2C6-3E45-A5CE-AEFA312B60A1}" dt="2023-02-11T02:22:06.845" v="3197" actId="1035"/>
          <ac:spMkLst>
            <pc:docMk/>
            <pc:sldMk cId="336954209" sldId="262"/>
            <ac:spMk id="23" creationId="{D3B62D83-8E70-BB43-5859-62FC7CD72CB9}"/>
          </ac:spMkLst>
        </pc:spChg>
        <pc:picChg chg="mod">
          <ac:chgData name="Ingo Bethke" userId="0ace9986-83c7-40d8-aadc-a8d8d7c841c6" providerId="ADAL" clId="{644D9300-F2C6-3E45-A5CE-AEFA312B60A1}" dt="2023-02-11T03:03:52.547" v="3204" actId="14826"/>
          <ac:picMkLst>
            <pc:docMk/>
            <pc:sldMk cId="336954209" sldId="262"/>
            <ac:picMk id="4" creationId="{BBF8734C-8296-4B2B-66F6-8162974C80A6}"/>
          </ac:picMkLst>
        </pc:picChg>
        <pc:picChg chg="mod">
          <ac:chgData name="Ingo Bethke" userId="0ace9986-83c7-40d8-aadc-a8d8d7c841c6" providerId="ADAL" clId="{644D9300-F2C6-3E45-A5CE-AEFA312B60A1}" dt="2023-02-11T02:22:06.845" v="3197" actId="1035"/>
          <ac:picMkLst>
            <pc:docMk/>
            <pc:sldMk cId="336954209" sldId="262"/>
            <ac:picMk id="7" creationId="{66AF29A3-7BBF-B9D1-D41E-A2D7BF8D2D08}"/>
          </ac:picMkLst>
        </pc:picChg>
        <pc:picChg chg="mod">
          <ac:chgData name="Ingo Bethke" userId="0ace9986-83c7-40d8-aadc-a8d8d7c841c6" providerId="ADAL" clId="{644D9300-F2C6-3E45-A5CE-AEFA312B60A1}" dt="2023-02-11T02:44:14.789" v="3200" actId="14826"/>
          <ac:picMkLst>
            <pc:docMk/>
            <pc:sldMk cId="336954209" sldId="262"/>
            <ac:picMk id="8" creationId="{7A7297A2-FA1A-69E4-D104-024A8FDD34E4}"/>
          </ac:picMkLst>
        </pc:picChg>
        <pc:picChg chg="mod">
          <ac:chgData name="Ingo Bethke" userId="0ace9986-83c7-40d8-aadc-a8d8d7c841c6" providerId="ADAL" clId="{644D9300-F2C6-3E45-A5CE-AEFA312B60A1}" dt="2023-02-11T02:23:17.937" v="3199" actId="14826"/>
          <ac:picMkLst>
            <pc:docMk/>
            <pc:sldMk cId="336954209" sldId="262"/>
            <ac:picMk id="11" creationId="{9922FD65-2AF9-6AEB-F3C6-88FDB4109F9A}"/>
          </ac:picMkLst>
        </pc:picChg>
        <pc:picChg chg="mod">
          <ac:chgData name="Ingo Bethke" userId="0ace9986-83c7-40d8-aadc-a8d8d7c841c6" providerId="ADAL" clId="{644D9300-F2C6-3E45-A5CE-AEFA312B60A1}" dt="2023-02-11T02:44:37.246" v="3201" actId="14826"/>
          <ac:picMkLst>
            <pc:docMk/>
            <pc:sldMk cId="336954209" sldId="262"/>
            <ac:picMk id="14" creationId="{D394484C-9262-C6EC-D512-DD6D63A95671}"/>
          </ac:picMkLst>
        </pc:picChg>
        <pc:picChg chg="mod">
          <ac:chgData name="Ingo Bethke" userId="0ace9986-83c7-40d8-aadc-a8d8d7c841c6" providerId="ADAL" clId="{644D9300-F2C6-3E45-A5CE-AEFA312B60A1}" dt="2023-02-11T02:22:06.845" v="3197" actId="1035"/>
          <ac:picMkLst>
            <pc:docMk/>
            <pc:sldMk cId="336954209" sldId="262"/>
            <ac:picMk id="15" creationId="{510034F0-C0B1-7FAB-CF1F-D17E1307C9C2}"/>
          </ac:picMkLst>
        </pc:picChg>
        <pc:picChg chg="mod">
          <ac:chgData name="Ingo Bethke" userId="0ace9986-83c7-40d8-aadc-a8d8d7c841c6" providerId="ADAL" clId="{644D9300-F2C6-3E45-A5CE-AEFA312B60A1}" dt="2023-02-11T02:22:06.845" v="3197" actId="1035"/>
          <ac:picMkLst>
            <pc:docMk/>
            <pc:sldMk cId="336954209" sldId="262"/>
            <ac:picMk id="22" creationId="{FD597CEB-DC9C-3899-7F73-226A95BD7B1E}"/>
          </ac:picMkLst>
        </pc:picChg>
      </pc:sldChg>
      <pc:sldChg chg="addSp modSp mod">
        <pc:chgData name="Ingo Bethke" userId="0ace9986-83c7-40d8-aadc-a8d8d7c841c6" providerId="ADAL" clId="{644D9300-F2C6-3E45-A5CE-AEFA312B60A1}" dt="2023-02-11T13:16:51.424" v="4108" actId="1038"/>
        <pc:sldMkLst>
          <pc:docMk/>
          <pc:sldMk cId="295168418" sldId="264"/>
        </pc:sldMkLst>
        <pc:spChg chg="add mod">
          <ac:chgData name="Ingo Bethke" userId="0ace9986-83c7-40d8-aadc-a8d8d7c841c6" providerId="ADAL" clId="{644D9300-F2C6-3E45-A5CE-AEFA312B60A1}" dt="2023-02-11T13:16:51.424" v="4108" actId="1038"/>
          <ac:spMkLst>
            <pc:docMk/>
            <pc:sldMk cId="295168418" sldId="264"/>
            <ac:spMk id="2" creationId="{B8D82484-C30C-F359-9262-D7E344240E95}"/>
          </ac:spMkLst>
        </pc:spChg>
        <pc:spChg chg="mod">
          <ac:chgData name="Ingo Bethke" userId="0ace9986-83c7-40d8-aadc-a8d8d7c841c6" providerId="ADAL" clId="{644D9300-F2C6-3E45-A5CE-AEFA312B60A1}" dt="2023-02-11T12:35:13.623" v="3996" actId="1035"/>
          <ac:spMkLst>
            <pc:docMk/>
            <pc:sldMk cId="295168418" sldId="264"/>
            <ac:spMk id="3" creationId="{4EE916DC-0C7D-60FB-DF61-EF96D9033B18}"/>
          </ac:spMkLst>
        </pc:spChg>
        <pc:spChg chg="mod">
          <ac:chgData name="Ingo Bethke" userId="0ace9986-83c7-40d8-aadc-a8d8d7c841c6" providerId="ADAL" clId="{644D9300-F2C6-3E45-A5CE-AEFA312B60A1}" dt="2023-02-11T12:35:13.623" v="3996" actId="1035"/>
          <ac:spMkLst>
            <pc:docMk/>
            <pc:sldMk cId="295168418" sldId="264"/>
            <ac:spMk id="5" creationId="{03FB8FAA-6F9D-0334-DD62-27C4A7112A7B}"/>
          </ac:spMkLst>
        </pc:spChg>
        <pc:spChg chg="mod">
          <ac:chgData name="Ingo Bethke" userId="0ace9986-83c7-40d8-aadc-a8d8d7c841c6" providerId="ADAL" clId="{644D9300-F2C6-3E45-A5CE-AEFA312B60A1}" dt="2023-02-11T12:35:13.623" v="3996" actId="1035"/>
          <ac:spMkLst>
            <pc:docMk/>
            <pc:sldMk cId="295168418" sldId="264"/>
            <ac:spMk id="6" creationId="{976374F8-48AB-5A0F-9A27-A916712B7042}"/>
          </ac:spMkLst>
        </pc:spChg>
        <pc:spChg chg="mod">
          <ac:chgData name="Ingo Bethke" userId="0ace9986-83c7-40d8-aadc-a8d8d7c841c6" providerId="ADAL" clId="{644D9300-F2C6-3E45-A5CE-AEFA312B60A1}" dt="2023-02-11T12:35:13.623" v="3996" actId="1035"/>
          <ac:spMkLst>
            <pc:docMk/>
            <pc:sldMk cId="295168418" sldId="264"/>
            <ac:spMk id="8" creationId="{36EE12A4-DDB5-F7BE-409D-FDD2413FF9E1}"/>
          </ac:spMkLst>
        </pc:spChg>
        <pc:spChg chg="mod">
          <ac:chgData name="Ingo Bethke" userId="0ace9986-83c7-40d8-aadc-a8d8d7c841c6" providerId="ADAL" clId="{644D9300-F2C6-3E45-A5CE-AEFA312B60A1}" dt="2023-02-11T12:35:13.623" v="3996" actId="1035"/>
          <ac:spMkLst>
            <pc:docMk/>
            <pc:sldMk cId="295168418" sldId="264"/>
            <ac:spMk id="9" creationId="{765811CD-5E01-D330-69C8-1C34930A1948}"/>
          </ac:spMkLst>
        </pc:spChg>
        <pc:spChg chg="mod">
          <ac:chgData name="Ingo Bethke" userId="0ace9986-83c7-40d8-aadc-a8d8d7c841c6" providerId="ADAL" clId="{644D9300-F2C6-3E45-A5CE-AEFA312B60A1}" dt="2023-02-11T12:35:13.623" v="3996" actId="1035"/>
          <ac:spMkLst>
            <pc:docMk/>
            <pc:sldMk cId="295168418" sldId="264"/>
            <ac:spMk id="10" creationId="{79FCEADB-07E0-9B49-9DC1-1E113BCE621B}"/>
          </ac:spMkLst>
        </pc:spChg>
        <pc:spChg chg="mod">
          <ac:chgData name="Ingo Bethke" userId="0ace9986-83c7-40d8-aadc-a8d8d7c841c6" providerId="ADAL" clId="{644D9300-F2C6-3E45-A5CE-AEFA312B60A1}" dt="2023-02-11T12:53:31.123" v="4063" actId="20577"/>
          <ac:spMkLst>
            <pc:docMk/>
            <pc:sldMk cId="295168418" sldId="264"/>
            <ac:spMk id="11" creationId="{68A60CD2-458B-E7E8-5660-139D1F19598F}"/>
          </ac:spMkLst>
        </pc:spChg>
        <pc:spChg chg="mod">
          <ac:chgData name="Ingo Bethke" userId="0ace9986-83c7-40d8-aadc-a8d8d7c841c6" providerId="ADAL" clId="{644D9300-F2C6-3E45-A5CE-AEFA312B60A1}" dt="2023-02-11T12:35:13.623" v="3996" actId="1035"/>
          <ac:spMkLst>
            <pc:docMk/>
            <pc:sldMk cId="295168418" sldId="264"/>
            <ac:spMk id="13" creationId="{BDD71A44-F302-BDD2-8AF6-AA51584AD18D}"/>
          </ac:spMkLst>
        </pc:spChg>
        <pc:spChg chg="mod">
          <ac:chgData name="Ingo Bethke" userId="0ace9986-83c7-40d8-aadc-a8d8d7c841c6" providerId="ADAL" clId="{644D9300-F2C6-3E45-A5CE-AEFA312B60A1}" dt="2023-02-11T12:35:13.623" v="3996" actId="1035"/>
          <ac:spMkLst>
            <pc:docMk/>
            <pc:sldMk cId="295168418" sldId="264"/>
            <ac:spMk id="18" creationId="{AE6A6026-FBAC-50C7-E83F-CEF2EA42FEDE}"/>
          </ac:spMkLst>
        </pc:spChg>
        <pc:spChg chg="mod">
          <ac:chgData name="Ingo Bethke" userId="0ace9986-83c7-40d8-aadc-a8d8d7c841c6" providerId="ADAL" clId="{644D9300-F2C6-3E45-A5CE-AEFA312B60A1}" dt="2023-02-11T12:35:13.623" v="3996" actId="1035"/>
          <ac:spMkLst>
            <pc:docMk/>
            <pc:sldMk cId="295168418" sldId="264"/>
            <ac:spMk id="19" creationId="{4926A035-2EAA-721D-6345-EBCB7D4E8AFD}"/>
          </ac:spMkLst>
        </pc:spChg>
        <pc:spChg chg="mod">
          <ac:chgData name="Ingo Bethke" userId="0ace9986-83c7-40d8-aadc-a8d8d7c841c6" providerId="ADAL" clId="{644D9300-F2C6-3E45-A5CE-AEFA312B60A1}" dt="2023-02-11T12:35:13.623" v="3996" actId="1035"/>
          <ac:spMkLst>
            <pc:docMk/>
            <pc:sldMk cId="295168418" sldId="264"/>
            <ac:spMk id="20" creationId="{201951F6-3606-C3F9-B5D4-B7508EC07D71}"/>
          </ac:spMkLst>
        </pc:spChg>
        <pc:picChg chg="mod">
          <ac:chgData name="Ingo Bethke" userId="0ace9986-83c7-40d8-aadc-a8d8d7c841c6" providerId="ADAL" clId="{644D9300-F2C6-3E45-A5CE-AEFA312B60A1}" dt="2023-02-11T12:35:13.623" v="3996" actId="1035"/>
          <ac:picMkLst>
            <pc:docMk/>
            <pc:sldMk cId="295168418" sldId="264"/>
            <ac:picMk id="4" creationId="{08DEE619-029C-F6BD-AF8E-617BE1A1A690}"/>
          </ac:picMkLst>
        </pc:picChg>
        <pc:picChg chg="mod">
          <ac:chgData name="Ingo Bethke" userId="0ace9986-83c7-40d8-aadc-a8d8d7c841c6" providerId="ADAL" clId="{644D9300-F2C6-3E45-A5CE-AEFA312B60A1}" dt="2023-02-11T12:40:53.973" v="3997" actId="14826"/>
          <ac:picMkLst>
            <pc:docMk/>
            <pc:sldMk cId="295168418" sldId="264"/>
            <ac:picMk id="12" creationId="{B2623B4B-6E40-6CCB-F071-086CCC5D1079}"/>
          </ac:picMkLst>
        </pc:picChg>
        <pc:picChg chg="mod">
          <ac:chgData name="Ingo Bethke" userId="0ace9986-83c7-40d8-aadc-a8d8d7c841c6" providerId="ADAL" clId="{644D9300-F2C6-3E45-A5CE-AEFA312B60A1}" dt="2023-02-11T12:41:45.167" v="3999" actId="14826"/>
          <ac:picMkLst>
            <pc:docMk/>
            <pc:sldMk cId="295168418" sldId="264"/>
            <ac:picMk id="17" creationId="{E5721856-F763-1C0E-8AD0-E854D5ADBA80}"/>
          </ac:picMkLst>
        </pc:picChg>
        <pc:picChg chg="mod">
          <ac:chgData name="Ingo Bethke" userId="0ace9986-83c7-40d8-aadc-a8d8d7c841c6" providerId="ADAL" clId="{644D9300-F2C6-3E45-A5CE-AEFA312B60A1}" dt="2023-02-11T12:41:23.910" v="3998" actId="14826"/>
          <ac:picMkLst>
            <pc:docMk/>
            <pc:sldMk cId="295168418" sldId="264"/>
            <ac:picMk id="21" creationId="{CBF16F09-E6F3-4FEB-F2A7-97999B85BC01}"/>
          </ac:picMkLst>
        </pc:picChg>
        <pc:picChg chg="mod">
          <ac:chgData name="Ingo Bethke" userId="0ace9986-83c7-40d8-aadc-a8d8d7c841c6" providerId="ADAL" clId="{644D9300-F2C6-3E45-A5CE-AEFA312B60A1}" dt="2023-02-11T12:42:19.312" v="4002" actId="14826"/>
          <ac:picMkLst>
            <pc:docMk/>
            <pc:sldMk cId="295168418" sldId="264"/>
            <ac:picMk id="22" creationId="{F3DDAD37-AE08-37C7-D8B6-0606EE660501}"/>
          </ac:picMkLst>
        </pc:picChg>
        <pc:picChg chg="mod">
          <ac:chgData name="Ingo Bethke" userId="0ace9986-83c7-40d8-aadc-a8d8d7c841c6" providerId="ADAL" clId="{644D9300-F2C6-3E45-A5CE-AEFA312B60A1}" dt="2023-02-11T12:42:36.221" v="4003" actId="14826"/>
          <ac:picMkLst>
            <pc:docMk/>
            <pc:sldMk cId="295168418" sldId="264"/>
            <ac:picMk id="23" creationId="{200AB0C5-4461-0EE1-4782-625046BE1AAE}"/>
          </ac:picMkLst>
        </pc:picChg>
      </pc:sldChg>
      <pc:sldChg chg="del">
        <pc:chgData name="Ingo Bethke" userId="0ace9986-83c7-40d8-aadc-a8d8d7c841c6" providerId="ADAL" clId="{644D9300-F2C6-3E45-A5CE-AEFA312B60A1}" dt="2023-02-11T03:58:22.991" v="3669" actId="2696"/>
        <pc:sldMkLst>
          <pc:docMk/>
          <pc:sldMk cId="4141094323" sldId="269"/>
        </pc:sldMkLst>
      </pc:sldChg>
      <pc:sldChg chg="modSp mod">
        <pc:chgData name="Ingo Bethke" userId="0ace9986-83c7-40d8-aadc-a8d8d7c841c6" providerId="ADAL" clId="{644D9300-F2C6-3E45-A5CE-AEFA312B60A1}" dt="2023-02-13T02:23:21.746" v="9579" actId="20577"/>
        <pc:sldMkLst>
          <pc:docMk/>
          <pc:sldMk cId="1634874067" sldId="270"/>
        </pc:sldMkLst>
        <pc:spChg chg="mod">
          <ac:chgData name="Ingo Bethke" userId="0ace9986-83c7-40d8-aadc-a8d8d7c841c6" providerId="ADAL" clId="{644D9300-F2C6-3E45-A5CE-AEFA312B60A1}" dt="2023-02-12T14:42:28.137" v="8895" actId="1076"/>
          <ac:spMkLst>
            <pc:docMk/>
            <pc:sldMk cId="1634874067" sldId="270"/>
            <ac:spMk id="2" creationId="{BF8B0ACD-1B97-420D-C198-11A36BF4BF83}"/>
          </ac:spMkLst>
        </pc:spChg>
        <pc:spChg chg="mod">
          <ac:chgData name="Ingo Bethke" userId="0ace9986-83c7-40d8-aadc-a8d8d7c841c6" providerId="ADAL" clId="{644D9300-F2C6-3E45-A5CE-AEFA312B60A1}" dt="2023-02-13T02:23:21.746" v="9579" actId="20577"/>
          <ac:spMkLst>
            <pc:docMk/>
            <pc:sldMk cId="1634874067" sldId="270"/>
            <ac:spMk id="3" creationId="{00000000-0000-0000-0000-000000000000}"/>
          </ac:spMkLst>
        </pc:spChg>
        <pc:spChg chg="mod">
          <ac:chgData name="Ingo Bethke" userId="0ace9986-83c7-40d8-aadc-a8d8d7c841c6" providerId="ADAL" clId="{644D9300-F2C6-3E45-A5CE-AEFA312B60A1}" dt="2023-02-12T13:36:49.564" v="8259" actId="1076"/>
          <ac:spMkLst>
            <pc:docMk/>
            <pc:sldMk cId="1634874067" sldId="270"/>
            <ac:spMk id="7" creationId="{85275E20-790A-58A5-0A7A-59DEF3041FD4}"/>
          </ac:spMkLst>
        </pc:spChg>
      </pc:sldChg>
      <pc:sldChg chg="addSp delSp modSp mod">
        <pc:chgData name="Ingo Bethke" userId="0ace9986-83c7-40d8-aadc-a8d8d7c841c6" providerId="ADAL" clId="{644D9300-F2C6-3E45-A5CE-AEFA312B60A1}" dt="2023-02-13T04:43:02.899" v="9629" actId="20577"/>
        <pc:sldMkLst>
          <pc:docMk/>
          <pc:sldMk cId="2082588239" sldId="275"/>
        </pc:sldMkLst>
        <pc:spChg chg="mod">
          <ac:chgData name="Ingo Bethke" userId="0ace9986-83c7-40d8-aadc-a8d8d7c841c6" providerId="ADAL" clId="{644D9300-F2C6-3E45-A5CE-AEFA312B60A1}" dt="2023-02-10T14:05:10.232" v="2979" actId="20577"/>
          <ac:spMkLst>
            <pc:docMk/>
            <pc:sldMk cId="2082588239" sldId="275"/>
            <ac:spMk id="2" creationId="{00000000-0000-0000-0000-000000000000}"/>
          </ac:spMkLst>
        </pc:spChg>
        <pc:spChg chg="add del mod">
          <ac:chgData name="Ingo Bethke" userId="0ace9986-83c7-40d8-aadc-a8d8d7c841c6" providerId="ADAL" clId="{644D9300-F2C6-3E45-A5CE-AEFA312B60A1}" dt="2023-02-11T23:07:15.291" v="4170"/>
          <ac:spMkLst>
            <pc:docMk/>
            <pc:sldMk cId="2082588239" sldId="275"/>
            <ac:spMk id="5" creationId="{6813B50F-7FD9-C59C-2CBE-151A55D00ADE}"/>
          </ac:spMkLst>
        </pc:spChg>
        <pc:spChg chg="add del mod">
          <ac:chgData name="Ingo Bethke" userId="0ace9986-83c7-40d8-aadc-a8d8d7c841c6" providerId="ADAL" clId="{644D9300-F2C6-3E45-A5CE-AEFA312B60A1}" dt="2023-02-10T00:44:29.693" v="1257" actId="478"/>
          <ac:spMkLst>
            <pc:docMk/>
            <pc:sldMk cId="2082588239" sldId="275"/>
            <ac:spMk id="5" creationId="{D539981C-04B9-81C7-A972-D99AE1879076}"/>
          </ac:spMkLst>
        </pc:spChg>
        <pc:spChg chg="add del mod">
          <ac:chgData name="Ingo Bethke" userId="0ace9986-83c7-40d8-aadc-a8d8d7c841c6" providerId="ADAL" clId="{644D9300-F2C6-3E45-A5CE-AEFA312B60A1}" dt="2023-02-12T14:43:37.890" v="8918" actId="21"/>
          <ac:spMkLst>
            <pc:docMk/>
            <pc:sldMk cId="2082588239" sldId="275"/>
            <ac:spMk id="6" creationId="{02115996-DD6E-56C4-C07A-0ACBEA40FB76}"/>
          </ac:spMkLst>
        </pc:spChg>
        <pc:spChg chg="add mod">
          <ac:chgData name="Ingo Bethke" userId="0ace9986-83c7-40d8-aadc-a8d8d7c841c6" providerId="ADAL" clId="{644D9300-F2C6-3E45-A5CE-AEFA312B60A1}" dt="2023-02-12T09:50:57.180" v="4546" actId="1038"/>
          <ac:spMkLst>
            <pc:docMk/>
            <pc:sldMk cId="2082588239" sldId="275"/>
            <ac:spMk id="8" creationId="{79703B61-A951-1662-E81A-BD1A5BA17766}"/>
          </ac:spMkLst>
        </pc:spChg>
        <pc:spChg chg="add del mod">
          <ac:chgData name="Ingo Bethke" userId="0ace9986-83c7-40d8-aadc-a8d8d7c841c6" providerId="ADAL" clId="{644D9300-F2C6-3E45-A5CE-AEFA312B60A1}" dt="2023-02-11T23:04:24.234" v="4151" actId="478"/>
          <ac:spMkLst>
            <pc:docMk/>
            <pc:sldMk cId="2082588239" sldId="275"/>
            <ac:spMk id="9" creationId="{47EB7E48-E43E-8D19-B0B9-4ABB56F9C5F4}"/>
          </ac:spMkLst>
        </pc:spChg>
        <pc:spChg chg="del">
          <ac:chgData name="Ingo Bethke" userId="0ace9986-83c7-40d8-aadc-a8d8d7c841c6" providerId="ADAL" clId="{644D9300-F2C6-3E45-A5CE-AEFA312B60A1}" dt="2023-02-09T02:28:12.846" v="24" actId="478"/>
          <ac:spMkLst>
            <pc:docMk/>
            <pc:sldMk cId="2082588239" sldId="275"/>
            <ac:spMk id="9" creationId="{968646A3-B51B-A660-4DF9-CE2A28F900A6}"/>
          </ac:spMkLst>
        </pc:spChg>
        <pc:spChg chg="del">
          <ac:chgData name="Ingo Bethke" userId="0ace9986-83c7-40d8-aadc-a8d8d7c841c6" providerId="ADAL" clId="{644D9300-F2C6-3E45-A5CE-AEFA312B60A1}" dt="2023-02-09T02:28:12.846" v="24" actId="478"/>
          <ac:spMkLst>
            <pc:docMk/>
            <pc:sldMk cId="2082588239" sldId="275"/>
            <ac:spMk id="10" creationId="{7A8F57DA-E426-CD40-7E56-32AC9076E549}"/>
          </ac:spMkLst>
        </pc:spChg>
        <pc:spChg chg="add mod">
          <ac:chgData name="Ingo Bethke" userId="0ace9986-83c7-40d8-aadc-a8d8d7c841c6" providerId="ADAL" clId="{644D9300-F2C6-3E45-A5CE-AEFA312B60A1}" dt="2023-02-13T04:43:02.899" v="9629" actId="20577"/>
          <ac:spMkLst>
            <pc:docMk/>
            <pc:sldMk cId="2082588239" sldId="275"/>
            <ac:spMk id="11" creationId="{24FD767E-F09C-D36C-862F-E0A8E600B327}"/>
          </ac:spMkLst>
        </pc:spChg>
        <pc:spChg chg="del">
          <ac:chgData name="Ingo Bethke" userId="0ace9986-83c7-40d8-aadc-a8d8d7c841c6" providerId="ADAL" clId="{644D9300-F2C6-3E45-A5CE-AEFA312B60A1}" dt="2023-02-09T02:28:12.846" v="24" actId="478"/>
          <ac:spMkLst>
            <pc:docMk/>
            <pc:sldMk cId="2082588239" sldId="275"/>
            <ac:spMk id="11" creationId="{9E7CA2D6-FA32-8A60-F1FC-AABDAE4D5D2E}"/>
          </ac:spMkLst>
        </pc:spChg>
        <pc:spChg chg="add del mod">
          <ac:chgData name="Ingo Bethke" userId="0ace9986-83c7-40d8-aadc-a8d8d7c841c6" providerId="ADAL" clId="{644D9300-F2C6-3E45-A5CE-AEFA312B60A1}" dt="2023-02-10T00:44:11.905" v="1255" actId="478"/>
          <ac:spMkLst>
            <pc:docMk/>
            <pc:sldMk cId="2082588239" sldId="275"/>
            <ac:spMk id="12" creationId="{91CC762F-E200-D0BF-409D-99191C10B625}"/>
          </ac:spMkLst>
        </pc:spChg>
        <pc:spChg chg="del">
          <ac:chgData name="Ingo Bethke" userId="0ace9986-83c7-40d8-aadc-a8d8d7c841c6" providerId="ADAL" clId="{644D9300-F2C6-3E45-A5CE-AEFA312B60A1}" dt="2023-02-09T02:28:12.846" v="24" actId="478"/>
          <ac:spMkLst>
            <pc:docMk/>
            <pc:sldMk cId="2082588239" sldId="275"/>
            <ac:spMk id="17" creationId="{BFA09E29-F007-06AF-A908-4E8A00CB6EC2}"/>
          </ac:spMkLst>
        </pc:spChg>
        <pc:picChg chg="add del mod">
          <ac:chgData name="Ingo Bethke" userId="0ace9986-83c7-40d8-aadc-a8d8d7c841c6" providerId="ADAL" clId="{644D9300-F2C6-3E45-A5CE-AEFA312B60A1}" dt="2023-02-12T14:43:37.890" v="8918" actId="21"/>
          <ac:picMkLst>
            <pc:docMk/>
            <pc:sldMk cId="2082588239" sldId="275"/>
            <ac:picMk id="3" creationId="{35BD3748-7D79-2543-786E-1FA88B419D93}"/>
          </ac:picMkLst>
        </pc:picChg>
        <pc:picChg chg="del">
          <ac:chgData name="Ingo Bethke" userId="0ace9986-83c7-40d8-aadc-a8d8d7c841c6" providerId="ADAL" clId="{644D9300-F2C6-3E45-A5CE-AEFA312B60A1}" dt="2023-02-09T02:28:12.846" v="24" actId="478"/>
          <ac:picMkLst>
            <pc:docMk/>
            <pc:sldMk cId="2082588239" sldId="275"/>
            <ac:picMk id="3" creationId="{6BB334DA-7AC3-716B-213D-A14CA1E40187}"/>
          </ac:picMkLst>
        </pc:picChg>
        <pc:picChg chg="add del mod">
          <ac:chgData name="Ingo Bethke" userId="0ace9986-83c7-40d8-aadc-a8d8d7c841c6" providerId="ADAL" clId="{644D9300-F2C6-3E45-A5CE-AEFA312B60A1}" dt="2023-02-11T02:11:48.473" v="3032" actId="478"/>
          <ac:picMkLst>
            <pc:docMk/>
            <pc:sldMk cId="2082588239" sldId="275"/>
            <ac:picMk id="5" creationId="{9847887B-8DA5-B9E0-3CBB-FA0F27CED79B}"/>
          </ac:picMkLst>
        </pc:picChg>
        <pc:picChg chg="del">
          <ac:chgData name="Ingo Bethke" userId="0ace9986-83c7-40d8-aadc-a8d8d7c841c6" providerId="ADAL" clId="{644D9300-F2C6-3E45-A5CE-AEFA312B60A1}" dt="2023-02-09T02:28:12.846" v="24" actId="478"/>
          <ac:picMkLst>
            <pc:docMk/>
            <pc:sldMk cId="2082588239" sldId="275"/>
            <ac:picMk id="5" creationId="{E81668A5-3ED6-4376-42B5-8F9618F19BB9}"/>
          </ac:picMkLst>
        </pc:picChg>
        <pc:picChg chg="del">
          <ac:chgData name="Ingo Bethke" userId="0ace9986-83c7-40d8-aadc-a8d8d7c841c6" providerId="ADAL" clId="{644D9300-F2C6-3E45-A5CE-AEFA312B60A1}" dt="2023-02-09T02:28:12.846" v="24" actId="478"/>
          <ac:picMkLst>
            <pc:docMk/>
            <pc:sldMk cId="2082588239" sldId="275"/>
            <ac:picMk id="6" creationId="{B4401538-DDD5-E041-5458-0B066CB272E3}"/>
          </ac:picMkLst>
        </pc:picChg>
        <pc:picChg chg="add mod modCrop">
          <ac:chgData name="Ingo Bethke" userId="0ace9986-83c7-40d8-aadc-a8d8d7c841c6" providerId="ADAL" clId="{644D9300-F2C6-3E45-A5CE-AEFA312B60A1}" dt="2023-02-12T09:50:57.180" v="4546" actId="1038"/>
          <ac:picMkLst>
            <pc:docMk/>
            <pc:sldMk cId="2082588239" sldId="275"/>
            <ac:picMk id="7" creationId="{3392C09E-833C-9C24-1565-E1F666926FA9}"/>
          </ac:picMkLst>
        </pc:picChg>
        <pc:picChg chg="add del mod">
          <ac:chgData name="Ingo Bethke" userId="0ace9986-83c7-40d8-aadc-a8d8d7c841c6" providerId="ADAL" clId="{644D9300-F2C6-3E45-A5CE-AEFA312B60A1}" dt="2023-02-10T07:24:36.145" v="2163" actId="478"/>
          <ac:picMkLst>
            <pc:docMk/>
            <pc:sldMk cId="2082588239" sldId="275"/>
            <ac:picMk id="7" creationId="{CFAD29DB-C10B-8CCF-B22A-14AB56C58086}"/>
          </ac:picMkLst>
        </pc:picChg>
        <pc:picChg chg="del">
          <ac:chgData name="Ingo Bethke" userId="0ace9986-83c7-40d8-aadc-a8d8d7c841c6" providerId="ADAL" clId="{644D9300-F2C6-3E45-A5CE-AEFA312B60A1}" dt="2023-02-09T02:28:12.846" v="24" actId="478"/>
          <ac:picMkLst>
            <pc:docMk/>
            <pc:sldMk cId="2082588239" sldId="275"/>
            <ac:picMk id="7" creationId="{ED66C0A4-DC44-4518-A26F-CF6CA2FCF0F8}"/>
          </ac:picMkLst>
        </pc:picChg>
        <pc:picChg chg="del">
          <ac:chgData name="Ingo Bethke" userId="0ace9986-83c7-40d8-aadc-a8d8d7c841c6" providerId="ADAL" clId="{644D9300-F2C6-3E45-A5CE-AEFA312B60A1}" dt="2023-02-09T02:28:12.846" v="24" actId="478"/>
          <ac:picMkLst>
            <pc:docMk/>
            <pc:sldMk cId="2082588239" sldId="275"/>
            <ac:picMk id="8" creationId="{1879C3FF-7CC5-4E70-8DEE-081DF5A95C6F}"/>
          </ac:picMkLst>
        </pc:picChg>
        <pc:picChg chg="add del mod">
          <ac:chgData name="Ingo Bethke" userId="0ace9986-83c7-40d8-aadc-a8d8d7c841c6" providerId="ADAL" clId="{644D9300-F2C6-3E45-A5CE-AEFA312B60A1}" dt="2023-02-10T04:35:43.513" v="1267" actId="478"/>
          <ac:picMkLst>
            <pc:docMk/>
            <pc:sldMk cId="2082588239" sldId="275"/>
            <ac:picMk id="8" creationId="{8620978E-5065-5DEF-B212-BB05189A8FA2}"/>
          </ac:picMkLst>
        </pc:picChg>
        <pc:picChg chg="add mod modCrop">
          <ac:chgData name="Ingo Bethke" userId="0ace9986-83c7-40d8-aadc-a8d8d7c841c6" providerId="ADAL" clId="{644D9300-F2C6-3E45-A5CE-AEFA312B60A1}" dt="2023-02-12T09:50:57.180" v="4546" actId="1038"/>
          <ac:picMkLst>
            <pc:docMk/>
            <pc:sldMk cId="2082588239" sldId="275"/>
            <ac:picMk id="10" creationId="{EFA97367-7345-AE32-19DF-E98B0C145ACA}"/>
          </ac:picMkLst>
        </pc:picChg>
        <pc:picChg chg="add del mod">
          <ac:chgData name="Ingo Bethke" userId="0ace9986-83c7-40d8-aadc-a8d8d7c841c6" providerId="ADAL" clId="{644D9300-F2C6-3E45-A5CE-AEFA312B60A1}" dt="2023-02-10T08:11:01.120" v="2267" actId="478"/>
          <ac:picMkLst>
            <pc:docMk/>
            <pc:sldMk cId="2082588239" sldId="275"/>
            <ac:picMk id="11" creationId="{DB4C6C62-F084-5980-9F03-B8184C99B50A}"/>
          </ac:picMkLst>
        </pc:picChg>
        <pc:picChg chg="add del mod">
          <ac:chgData name="Ingo Bethke" userId="0ace9986-83c7-40d8-aadc-a8d8d7c841c6" providerId="ADAL" clId="{644D9300-F2C6-3E45-A5CE-AEFA312B60A1}" dt="2023-02-10T08:11:24.620" v="2269" actId="478"/>
          <ac:picMkLst>
            <pc:docMk/>
            <pc:sldMk cId="2082588239" sldId="275"/>
            <ac:picMk id="14" creationId="{9AD76B27-E001-1296-874A-947943C1567A}"/>
          </ac:picMkLst>
        </pc:picChg>
        <pc:picChg chg="add mod">
          <ac:chgData name="Ingo Bethke" userId="0ace9986-83c7-40d8-aadc-a8d8d7c841c6" providerId="ADAL" clId="{644D9300-F2C6-3E45-A5CE-AEFA312B60A1}" dt="2023-02-13T04:40:07.049" v="9582" actId="14826"/>
          <ac:picMkLst>
            <pc:docMk/>
            <pc:sldMk cId="2082588239" sldId="275"/>
            <ac:picMk id="16" creationId="{ECBBE21F-60AE-FDCB-9F8F-EBC1070180B2}"/>
          </ac:picMkLst>
        </pc:picChg>
        <pc:picChg chg="add del mod modCrop">
          <ac:chgData name="Ingo Bethke" userId="0ace9986-83c7-40d8-aadc-a8d8d7c841c6" providerId="ADAL" clId="{644D9300-F2C6-3E45-A5CE-AEFA312B60A1}" dt="2023-02-11T02:11:20.453" v="3028" actId="478"/>
          <ac:picMkLst>
            <pc:docMk/>
            <pc:sldMk cId="2082588239" sldId="275"/>
            <ac:picMk id="18" creationId="{2E891B8A-85B8-BCC0-9257-E9DA42955F3C}"/>
          </ac:picMkLst>
        </pc:picChg>
        <pc:picChg chg="add del mod modCrop">
          <ac:chgData name="Ingo Bethke" userId="0ace9986-83c7-40d8-aadc-a8d8d7c841c6" providerId="ADAL" clId="{644D9300-F2C6-3E45-A5CE-AEFA312B60A1}" dt="2023-02-11T02:12:29.866" v="3033" actId="478"/>
          <ac:picMkLst>
            <pc:docMk/>
            <pc:sldMk cId="2082588239" sldId="275"/>
            <ac:picMk id="20" creationId="{DC5E26FF-CB88-DCF9-10BE-6979A3C88A40}"/>
          </ac:picMkLst>
        </pc:picChg>
      </pc:sldChg>
      <pc:sldChg chg="addSp delSp modSp mod">
        <pc:chgData name="Ingo Bethke" userId="0ace9986-83c7-40d8-aadc-a8d8d7c841c6" providerId="ADAL" clId="{644D9300-F2C6-3E45-A5CE-AEFA312B60A1}" dt="2023-02-13T02:10:29.878" v="9271" actId="20577"/>
        <pc:sldMkLst>
          <pc:docMk/>
          <pc:sldMk cId="535430165" sldId="283"/>
        </pc:sldMkLst>
        <pc:spChg chg="del mod">
          <ac:chgData name="Ingo Bethke" userId="0ace9986-83c7-40d8-aadc-a8d8d7c841c6" providerId="ADAL" clId="{644D9300-F2C6-3E45-A5CE-AEFA312B60A1}" dt="2023-02-12T10:06:33.815" v="4996" actId="478"/>
          <ac:spMkLst>
            <pc:docMk/>
            <pc:sldMk cId="535430165" sldId="283"/>
            <ac:spMk id="2" creationId="{7F420939-91E1-E573-F0BD-AD2B47A07E8B}"/>
          </ac:spMkLst>
        </pc:spChg>
        <pc:spChg chg="del mod">
          <ac:chgData name="Ingo Bethke" userId="0ace9986-83c7-40d8-aadc-a8d8d7c841c6" providerId="ADAL" clId="{644D9300-F2C6-3E45-A5CE-AEFA312B60A1}" dt="2023-02-12T13:33:03.518" v="8244" actId="478"/>
          <ac:spMkLst>
            <pc:docMk/>
            <pc:sldMk cId="535430165" sldId="283"/>
            <ac:spMk id="3" creationId="{ABDF1105-EAF6-451B-5AE8-32DA69F9C5BF}"/>
          </ac:spMkLst>
        </pc:spChg>
        <pc:spChg chg="add mod">
          <ac:chgData name="Ingo Bethke" userId="0ace9986-83c7-40d8-aadc-a8d8d7c841c6" providerId="ADAL" clId="{644D9300-F2C6-3E45-A5CE-AEFA312B60A1}" dt="2023-02-12T11:56:49.948" v="7999" actId="1035"/>
          <ac:spMkLst>
            <pc:docMk/>
            <pc:sldMk cId="535430165" sldId="283"/>
            <ac:spMk id="6" creationId="{D93D258F-D5A8-AA25-DFB2-3A16059FD7D0}"/>
          </ac:spMkLst>
        </pc:spChg>
        <pc:spChg chg="del">
          <ac:chgData name="Ingo Bethke" userId="0ace9986-83c7-40d8-aadc-a8d8d7c841c6" providerId="ADAL" clId="{644D9300-F2C6-3E45-A5CE-AEFA312B60A1}" dt="2023-02-12T10:05:32.668" v="4844" actId="478"/>
          <ac:spMkLst>
            <pc:docMk/>
            <pc:sldMk cId="535430165" sldId="283"/>
            <ac:spMk id="8" creationId="{A6BEEBB5-1CC3-8067-F083-9698F366C591}"/>
          </ac:spMkLst>
        </pc:spChg>
        <pc:spChg chg="add del mod">
          <ac:chgData name="Ingo Bethke" userId="0ace9986-83c7-40d8-aadc-a8d8d7c841c6" providerId="ADAL" clId="{644D9300-F2C6-3E45-A5CE-AEFA312B60A1}" dt="2023-02-12T13:33:15.981" v="8246" actId="478"/>
          <ac:spMkLst>
            <pc:docMk/>
            <pc:sldMk cId="535430165" sldId="283"/>
            <ac:spMk id="8" creationId="{DA99D7B0-172A-C87B-9D33-E74D1FD09810}"/>
          </ac:spMkLst>
        </pc:spChg>
        <pc:spChg chg="add del mod">
          <ac:chgData name="Ingo Bethke" userId="0ace9986-83c7-40d8-aadc-a8d8d7c841c6" providerId="ADAL" clId="{644D9300-F2C6-3E45-A5CE-AEFA312B60A1}" dt="2023-02-12T10:06:45.468" v="5019" actId="478"/>
          <ac:spMkLst>
            <pc:docMk/>
            <pc:sldMk cId="535430165" sldId="283"/>
            <ac:spMk id="9" creationId="{51430AB1-6F1C-4B18-A53B-9E0659559E74}"/>
          </ac:spMkLst>
        </pc:spChg>
        <pc:spChg chg="add mod">
          <ac:chgData name="Ingo Bethke" userId="0ace9986-83c7-40d8-aadc-a8d8d7c841c6" providerId="ADAL" clId="{644D9300-F2C6-3E45-A5CE-AEFA312B60A1}" dt="2023-02-13T02:10:29.878" v="9271" actId="20577"/>
          <ac:spMkLst>
            <pc:docMk/>
            <pc:sldMk cId="535430165" sldId="283"/>
            <ac:spMk id="9" creationId="{E2392A97-3DA3-0291-A5F4-97175A93233E}"/>
          </ac:spMkLst>
        </pc:spChg>
        <pc:spChg chg="add mod">
          <ac:chgData name="Ingo Bethke" userId="0ace9986-83c7-40d8-aadc-a8d8d7c841c6" providerId="ADAL" clId="{644D9300-F2C6-3E45-A5CE-AEFA312B60A1}" dt="2023-02-13T00:37:24.086" v="9065" actId="1038"/>
          <ac:spMkLst>
            <pc:docMk/>
            <pc:sldMk cId="535430165" sldId="283"/>
            <ac:spMk id="10" creationId="{80005506-C3AA-D417-FD19-E94C7FAF1348}"/>
          </ac:spMkLst>
        </pc:spChg>
        <pc:picChg chg="add mod">
          <ac:chgData name="Ingo Bethke" userId="0ace9986-83c7-40d8-aadc-a8d8d7c841c6" providerId="ADAL" clId="{644D9300-F2C6-3E45-A5CE-AEFA312B60A1}" dt="2023-02-12T11:56:49.948" v="7999" actId="1035"/>
          <ac:picMkLst>
            <pc:docMk/>
            <pc:sldMk cId="535430165" sldId="283"/>
            <ac:picMk id="2" creationId="{1D8A0654-0D45-53C9-8ACF-6FD65B63575B}"/>
          </ac:picMkLst>
        </pc:picChg>
        <pc:picChg chg="add mod">
          <ac:chgData name="Ingo Bethke" userId="0ace9986-83c7-40d8-aadc-a8d8d7c841c6" providerId="ADAL" clId="{644D9300-F2C6-3E45-A5CE-AEFA312B60A1}" dt="2023-02-12T11:56:49.948" v="7999" actId="1035"/>
          <ac:picMkLst>
            <pc:docMk/>
            <pc:sldMk cId="535430165" sldId="283"/>
            <ac:picMk id="5" creationId="{EBB95A6C-E529-2A35-6462-D4A0A91CFE7B}"/>
          </ac:picMkLst>
        </pc:picChg>
        <pc:picChg chg="del">
          <ac:chgData name="Ingo Bethke" userId="0ace9986-83c7-40d8-aadc-a8d8d7c841c6" providerId="ADAL" clId="{644D9300-F2C6-3E45-A5CE-AEFA312B60A1}" dt="2023-02-12T10:05:28.824" v="4842" actId="478"/>
          <ac:picMkLst>
            <pc:docMk/>
            <pc:sldMk cId="535430165" sldId="283"/>
            <ac:picMk id="6" creationId="{4F689B38-9632-6916-FCB9-1FAE2AD4C9BE}"/>
          </ac:picMkLst>
        </pc:picChg>
        <pc:picChg chg="del">
          <ac:chgData name="Ingo Bethke" userId="0ace9986-83c7-40d8-aadc-a8d8d7c841c6" providerId="ADAL" clId="{644D9300-F2C6-3E45-A5CE-AEFA312B60A1}" dt="2023-02-12T10:05:30.929" v="4843" actId="478"/>
          <ac:picMkLst>
            <pc:docMk/>
            <pc:sldMk cId="535430165" sldId="283"/>
            <ac:picMk id="7" creationId="{79387A78-8B3A-C3A3-37EA-916E646C19A7}"/>
          </ac:picMkLst>
        </pc:picChg>
      </pc:sldChg>
      <pc:sldChg chg="modSp mod">
        <pc:chgData name="Ingo Bethke" userId="0ace9986-83c7-40d8-aadc-a8d8d7c841c6" providerId="ADAL" clId="{644D9300-F2C6-3E45-A5CE-AEFA312B60A1}" dt="2023-02-13T01:01:40.406" v="9192" actId="1076"/>
        <pc:sldMkLst>
          <pc:docMk/>
          <pc:sldMk cId="90722523" sldId="284"/>
        </pc:sldMkLst>
        <pc:spChg chg="mod">
          <ac:chgData name="Ingo Bethke" userId="0ace9986-83c7-40d8-aadc-a8d8d7c841c6" providerId="ADAL" clId="{644D9300-F2C6-3E45-A5CE-AEFA312B60A1}" dt="2023-02-13T00:47:00.861" v="9167" actId="1076"/>
          <ac:spMkLst>
            <pc:docMk/>
            <pc:sldMk cId="90722523" sldId="284"/>
            <ac:spMk id="2" creationId="{00000000-0000-0000-0000-000000000000}"/>
          </ac:spMkLst>
        </pc:spChg>
        <pc:spChg chg="mod">
          <ac:chgData name="Ingo Bethke" userId="0ace9986-83c7-40d8-aadc-a8d8d7c841c6" providerId="ADAL" clId="{644D9300-F2C6-3E45-A5CE-AEFA312B60A1}" dt="2023-02-13T00:47:12.444" v="9168" actId="1076"/>
          <ac:spMkLst>
            <pc:docMk/>
            <pc:sldMk cId="90722523" sldId="284"/>
            <ac:spMk id="15" creationId="{E07C0CF2-6B0B-F95E-5655-7CFD8E6EF534}"/>
          </ac:spMkLst>
        </pc:spChg>
        <pc:picChg chg="mod">
          <ac:chgData name="Ingo Bethke" userId="0ace9986-83c7-40d8-aadc-a8d8d7c841c6" providerId="ADAL" clId="{644D9300-F2C6-3E45-A5CE-AEFA312B60A1}" dt="2023-02-13T01:01:40.406" v="9192" actId="1076"/>
          <ac:picMkLst>
            <pc:docMk/>
            <pc:sldMk cId="90722523" sldId="284"/>
            <ac:picMk id="23" creationId="{1BF7FFC5-4CDD-05FB-6D37-7BF0CB8647C7}"/>
          </ac:picMkLst>
        </pc:picChg>
        <pc:picChg chg="mod">
          <ac:chgData name="Ingo Bethke" userId="0ace9986-83c7-40d8-aadc-a8d8d7c841c6" providerId="ADAL" clId="{644D9300-F2C6-3E45-A5CE-AEFA312B60A1}" dt="2023-02-13T01:01:40.406" v="9192" actId="1076"/>
          <ac:picMkLst>
            <pc:docMk/>
            <pc:sldMk cId="90722523" sldId="284"/>
            <ac:picMk id="26" creationId="{91EC3A6D-8304-8D20-02DA-45EA6ADF7829}"/>
          </ac:picMkLst>
        </pc:picChg>
      </pc:sldChg>
      <pc:sldChg chg="del">
        <pc:chgData name="Ingo Bethke" userId="0ace9986-83c7-40d8-aadc-a8d8d7c841c6" providerId="ADAL" clId="{644D9300-F2C6-3E45-A5CE-AEFA312B60A1}" dt="2023-02-11T12:52:13.569" v="4058" actId="2696"/>
        <pc:sldMkLst>
          <pc:docMk/>
          <pc:sldMk cId="3493524281" sldId="285"/>
        </pc:sldMkLst>
      </pc:sldChg>
      <pc:sldChg chg="del">
        <pc:chgData name="Ingo Bethke" userId="0ace9986-83c7-40d8-aadc-a8d8d7c841c6" providerId="ADAL" clId="{644D9300-F2C6-3E45-A5CE-AEFA312B60A1}" dt="2023-02-11T13:17:43.351" v="4129" actId="2696"/>
        <pc:sldMkLst>
          <pc:docMk/>
          <pc:sldMk cId="2265722506" sldId="286"/>
        </pc:sldMkLst>
      </pc:sldChg>
      <pc:sldChg chg="modSp mod">
        <pc:chgData name="Ingo Bethke" userId="0ace9986-83c7-40d8-aadc-a8d8d7c841c6" providerId="ADAL" clId="{644D9300-F2C6-3E45-A5CE-AEFA312B60A1}" dt="2023-02-13T01:01:57.777" v="9193" actId="1076"/>
        <pc:sldMkLst>
          <pc:docMk/>
          <pc:sldMk cId="2091421172" sldId="287"/>
        </pc:sldMkLst>
        <pc:spChg chg="mod">
          <ac:chgData name="Ingo Bethke" userId="0ace9986-83c7-40d8-aadc-a8d8d7c841c6" providerId="ADAL" clId="{644D9300-F2C6-3E45-A5CE-AEFA312B60A1}" dt="2023-02-13T01:00:23.859" v="9169" actId="1076"/>
          <ac:spMkLst>
            <pc:docMk/>
            <pc:sldMk cId="2091421172" sldId="287"/>
            <ac:spMk id="2" creationId="{00000000-0000-0000-0000-000000000000}"/>
          </ac:spMkLst>
        </pc:spChg>
        <pc:spChg chg="mod">
          <ac:chgData name="Ingo Bethke" userId="0ace9986-83c7-40d8-aadc-a8d8d7c841c6" providerId="ADAL" clId="{644D9300-F2C6-3E45-A5CE-AEFA312B60A1}" dt="2023-02-13T01:00:39.194" v="9170" actId="1076"/>
          <ac:spMkLst>
            <pc:docMk/>
            <pc:sldMk cId="2091421172" sldId="287"/>
            <ac:spMk id="15" creationId="{E07C0CF2-6B0B-F95E-5655-7CFD8E6EF534}"/>
          </ac:spMkLst>
        </pc:spChg>
        <pc:spChg chg="mod">
          <ac:chgData name="Ingo Bethke" userId="0ace9986-83c7-40d8-aadc-a8d8d7c841c6" providerId="ADAL" clId="{644D9300-F2C6-3E45-A5CE-AEFA312B60A1}" dt="2023-02-13T01:00:57.179" v="9171" actId="1076"/>
          <ac:spMkLst>
            <pc:docMk/>
            <pc:sldMk cId="2091421172" sldId="287"/>
            <ac:spMk id="16" creationId="{60AAB3AB-F17C-12FA-2DF7-8E2547A40C88}"/>
          </ac:spMkLst>
        </pc:spChg>
        <pc:spChg chg="mod">
          <ac:chgData name="Ingo Bethke" userId="0ace9986-83c7-40d8-aadc-a8d8d7c841c6" providerId="ADAL" clId="{644D9300-F2C6-3E45-A5CE-AEFA312B60A1}" dt="2023-02-13T01:01:05.858" v="9190" actId="1036"/>
          <ac:spMkLst>
            <pc:docMk/>
            <pc:sldMk cId="2091421172" sldId="287"/>
            <ac:spMk id="17" creationId="{71D0855F-3789-3570-23F3-0ED57873D624}"/>
          </ac:spMkLst>
        </pc:spChg>
        <pc:picChg chg="mod">
          <ac:chgData name="Ingo Bethke" userId="0ace9986-83c7-40d8-aadc-a8d8d7c841c6" providerId="ADAL" clId="{644D9300-F2C6-3E45-A5CE-AEFA312B60A1}" dt="2023-02-13T01:01:57.777" v="9193" actId="1076"/>
          <ac:picMkLst>
            <pc:docMk/>
            <pc:sldMk cId="2091421172" sldId="287"/>
            <ac:picMk id="23" creationId="{1BF7FFC5-4CDD-05FB-6D37-7BF0CB8647C7}"/>
          </ac:picMkLst>
        </pc:picChg>
        <pc:picChg chg="mod">
          <ac:chgData name="Ingo Bethke" userId="0ace9986-83c7-40d8-aadc-a8d8d7c841c6" providerId="ADAL" clId="{644D9300-F2C6-3E45-A5CE-AEFA312B60A1}" dt="2023-02-13T01:01:57.777" v="9193" actId="1076"/>
          <ac:picMkLst>
            <pc:docMk/>
            <pc:sldMk cId="2091421172" sldId="287"/>
            <ac:picMk id="26" creationId="{91EC3A6D-8304-8D20-02DA-45EA6ADF7829}"/>
          </ac:picMkLst>
        </pc:picChg>
      </pc:sldChg>
      <pc:sldChg chg="addSp delSp modSp add mod">
        <pc:chgData name="Ingo Bethke" userId="0ace9986-83c7-40d8-aadc-a8d8d7c841c6" providerId="ADAL" clId="{644D9300-F2C6-3E45-A5CE-AEFA312B60A1}" dt="2023-02-13T00:36:19.085" v="9032" actId="20577"/>
        <pc:sldMkLst>
          <pc:docMk/>
          <pc:sldMk cId="2192514996" sldId="288"/>
        </pc:sldMkLst>
        <pc:spChg chg="mod">
          <ac:chgData name="Ingo Bethke" userId="0ace9986-83c7-40d8-aadc-a8d8d7c841c6" providerId="ADAL" clId="{644D9300-F2C6-3E45-A5CE-AEFA312B60A1}" dt="2023-02-12T10:15:16.169" v="5044"/>
          <ac:spMkLst>
            <pc:docMk/>
            <pc:sldMk cId="2192514996" sldId="288"/>
            <ac:spMk id="2" creationId="{00000000-0000-0000-0000-000000000000}"/>
          </ac:spMkLst>
        </pc:spChg>
        <pc:spChg chg="mod">
          <ac:chgData name="Ingo Bethke" userId="0ace9986-83c7-40d8-aadc-a8d8d7c841c6" providerId="ADAL" clId="{644D9300-F2C6-3E45-A5CE-AEFA312B60A1}" dt="2023-02-10T08:44:42.995" v="2623" actId="1035"/>
          <ac:spMkLst>
            <pc:docMk/>
            <pc:sldMk cId="2192514996" sldId="288"/>
            <ac:spMk id="9" creationId="{968646A3-B51B-A660-4DF9-CE2A28F900A6}"/>
          </ac:spMkLst>
        </pc:spChg>
        <pc:spChg chg="mod">
          <ac:chgData name="Ingo Bethke" userId="0ace9986-83c7-40d8-aadc-a8d8d7c841c6" providerId="ADAL" clId="{644D9300-F2C6-3E45-A5CE-AEFA312B60A1}" dt="2023-02-13T00:36:19.085" v="9032" actId="20577"/>
          <ac:spMkLst>
            <pc:docMk/>
            <pc:sldMk cId="2192514996" sldId="288"/>
            <ac:spMk id="10" creationId="{7A8F57DA-E426-CD40-7E56-32AC9076E549}"/>
          </ac:spMkLst>
        </pc:spChg>
        <pc:spChg chg="mod">
          <ac:chgData name="Ingo Bethke" userId="0ace9986-83c7-40d8-aadc-a8d8d7c841c6" providerId="ADAL" clId="{644D9300-F2C6-3E45-A5CE-AEFA312B60A1}" dt="2023-02-10T08:44:24.581" v="2590" actId="1036"/>
          <ac:spMkLst>
            <pc:docMk/>
            <pc:sldMk cId="2192514996" sldId="288"/>
            <ac:spMk id="11" creationId="{9E7CA2D6-FA32-8A60-F1FC-AABDAE4D5D2E}"/>
          </ac:spMkLst>
        </pc:spChg>
        <pc:spChg chg="add del mod">
          <ac:chgData name="Ingo Bethke" userId="0ace9986-83c7-40d8-aadc-a8d8d7c841c6" providerId="ADAL" clId="{644D9300-F2C6-3E45-A5CE-AEFA312B60A1}" dt="2023-02-10T08:10:59.889" v="2266"/>
          <ac:spMkLst>
            <pc:docMk/>
            <pc:sldMk cId="2192514996" sldId="288"/>
            <ac:spMk id="12" creationId="{9814D35F-C67B-B12F-8C2A-09843C8F4A78}"/>
          </ac:spMkLst>
        </pc:spChg>
        <pc:spChg chg="mod">
          <ac:chgData name="Ingo Bethke" userId="0ace9986-83c7-40d8-aadc-a8d8d7c841c6" providerId="ADAL" clId="{644D9300-F2C6-3E45-A5CE-AEFA312B60A1}" dt="2023-02-10T08:44:24.581" v="2590" actId="1036"/>
          <ac:spMkLst>
            <pc:docMk/>
            <pc:sldMk cId="2192514996" sldId="288"/>
            <ac:spMk id="17" creationId="{BFA09E29-F007-06AF-A908-4E8A00CB6EC2}"/>
          </ac:spMkLst>
        </pc:spChg>
        <pc:picChg chg="mod">
          <ac:chgData name="Ingo Bethke" userId="0ace9986-83c7-40d8-aadc-a8d8d7c841c6" providerId="ADAL" clId="{644D9300-F2C6-3E45-A5CE-AEFA312B60A1}" dt="2023-02-10T08:44:24.581" v="2590" actId="1036"/>
          <ac:picMkLst>
            <pc:docMk/>
            <pc:sldMk cId="2192514996" sldId="288"/>
            <ac:picMk id="3" creationId="{6BB334DA-7AC3-716B-213D-A14CA1E40187}"/>
          </ac:picMkLst>
        </pc:picChg>
        <pc:picChg chg="mod">
          <ac:chgData name="Ingo Bethke" userId="0ace9986-83c7-40d8-aadc-a8d8d7c841c6" providerId="ADAL" clId="{644D9300-F2C6-3E45-A5CE-AEFA312B60A1}" dt="2023-02-10T08:44:24.581" v="2590" actId="1036"/>
          <ac:picMkLst>
            <pc:docMk/>
            <pc:sldMk cId="2192514996" sldId="288"/>
            <ac:picMk id="5" creationId="{E81668A5-3ED6-4376-42B5-8F9618F19BB9}"/>
          </ac:picMkLst>
        </pc:picChg>
        <pc:picChg chg="mod">
          <ac:chgData name="Ingo Bethke" userId="0ace9986-83c7-40d8-aadc-a8d8d7c841c6" providerId="ADAL" clId="{644D9300-F2C6-3E45-A5CE-AEFA312B60A1}" dt="2023-02-10T08:44:24.581" v="2590" actId="1036"/>
          <ac:picMkLst>
            <pc:docMk/>
            <pc:sldMk cId="2192514996" sldId="288"/>
            <ac:picMk id="6" creationId="{B4401538-DDD5-E041-5458-0B066CB272E3}"/>
          </ac:picMkLst>
        </pc:picChg>
        <pc:picChg chg="mod">
          <ac:chgData name="Ingo Bethke" userId="0ace9986-83c7-40d8-aadc-a8d8d7c841c6" providerId="ADAL" clId="{644D9300-F2C6-3E45-A5CE-AEFA312B60A1}" dt="2023-02-10T08:44:24.581" v="2590" actId="1036"/>
          <ac:picMkLst>
            <pc:docMk/>
            <pc:sldMk cId="2192514996" sldId="288"/>
            <ac:picMk id="7" creationId="{ED66C0A4-DC44-4518-A26F-CF6CA2FCF0F8}"/>
          </ac:picMkLst>
        </pc:picChg>
        <pc:picChg chg="mod">
          <ac:chgData name="Ingo Bethke" userId="0ace9986-83c7-40d8-aadc-a8d8d7c841c6" providerId="ADAL" clId="{644D9300-F2C6-3E45-A5CE-AEFA312B60A1}" dt="2023-02-10T08:44:24.581" v="2590" actId="1036"/>
          <ac:picMkLst>
            <pc:docMk/>
            <pc:sldMk cId="2192514996" sldId="288"/>
            <ac:picMk id="8" creationId="{1879C3FF-7CC5-4E70-8DEE-081DF5A95C6F}"/>
          </ac:picMkLst>
        </pc:picChg>
      </pc:sldChg>
      <pc:sldChg chg="add del">
        <pc:chgData name="Ingo Bethke" userId="0ace9986-83c7-40d8-aadc-a8d8d7c841c6" providerId="ADAL" clId="{644D9300-F2C6-3E45-A5CE-AEFA312B60A1}" dt="2023-02-10T05:47:19.656" v="1944" actId="2696"/>
        <pc:sldMkLst>
          <pc:docMk/>
          <pc:sldMk cId="45090500" sldId="289"/>
        </pc:sldMkLst>
      </pc:sldChg>
      <pc:sldChg chg="add del">
        <pc:chgData name="Ingo Bethke" userId="0ace9986-83c7-40d8-aadc-a8d8d7c841c6" providerId="ADAL" clId="{644D9300-F2C6-3E45-A5CE-AEFA312B60A1}" dt="2023-02-09T02:29:36.364" v="26"/>
        <pc:sldMkLst>
          <pc:docMk/>
          <pc:sldMk cId="3068578038" sldId="289"/>
        </pc:sldMkLst>
      </pc:sldChg>
      <pc:sldChg chg="addSp delSp modSp add del mod">
        <pc:chgData name="Ingo Bethke" userId="0ace9986-83c7-40d8-aadc-a8d8d7c841c6" providerId="ADAL" clId="{644D9300-F2C6-3E45-A5CE-AEFA312B60A1}" dt="2023-02-11T00:23:39.454" v="3027" actId="2696"/>
        <pc:sldMkLst>
          <pc:docMk/>
          <pc:sldMk cId="3587341350" sldId="289"/>
        </pc:sldMkLst>
        <pc:spChg chg="mod">
          <ac:chgData name="Ingo Bethke" userId="0ace9986-83c7-40d8-aadc-a8d8d7c841c6" providerId="ADAL" clId="{644D9300-F2C6-3E45-A5CE-AEFA312B60A1}" dt="2023-02-10T14:05:22.590" v="2989" actId="20577"/>
          <ac:spMkLst>
            <pc:docMk/>
            <pc:sldMk cId="3587341350" sldId="289"/>
            <ac:spMk id="2" creationId="{00000000-0000-0000-0000-000000000000}"/>
          </ac:spMkLst>
        </pc:spChg>
        <pc:spChg chg="add mod">
          <ac:chgData name="Ingo Bethke" userId="0ace9986-83c7-40d8-aadc-a8d8d7c841c6" providerId="ADAL" clId="{644D9300-F2C6-3E45-A5CE-AEFA312B60A1}" dt="2023-02-10T08:36:42.344" v="2528" actId="14100"/>
          <ac:spMkLst>
            <pc:docMk/>
            <pc:sldMk cId="3587341350" sldId="289"/>
            <ac:spMk id="3" creationId="{EE1FC2E1-BCE9-9BF8-EACB-F5A80E590A17}"/>
          </ac:spMkLst>
        </pc:spChg>
        <pc:spChg chg="del">
          <ac:chgData name="Ingo Bethke" userId="0ace9986-83c7-40d8-aadc-a8d8d7c841c6" providerId="ADAL" clId="{644D9300-F2C6-3E45-A5CE-AEFA312B60A1}" dt="2023-02-10T08:36:32.976" v="2526" actId="478"/>
          <ac:spMkLst>
            <pc:docMk/>
            <pc:sldMk cId="3587341350" sldId="289"/>
            <ac:spMk id="9" creationId="{47EB7E48-E43E-8D19-B0B9-4ABB56F9C5F4}"/>
          </ac:spMkLst>
        </pc:spChg>
        <pc:picChg chg="add mod">
          <ac:chgData name="Ingo Bethke" userId="0ace9986-83c7-40d8-aadc-a8d8d7c841c6" providerId="ADAL" clId="{644D9300-F2C6-3E45-A5CE-AEFA312B60A1}" dt="2023-02-10T08:36:56.063" v="2529"/>
          <ac:picMkLst>
            <pc:docMk/>
            <pc:sldMk cId="3587341350" sldId="289"/>
            <ac:picMk id="5" creationId="{FB09F889-8B35-5DF2-DF94-EE3243057165}"/>
          </ac:picMkLst>
        </pc:picChg>
        <pc:picChg chg="add mod">
          <ac:chgData name="Ingo Bethke" userId="0ace9986-83c7-40d8-aadc-a8d8d7c841c6" providerId="ADAL" clId="{644D9300-F2C6-3E45-A5CE-AEFA312B60A1}" dt="2023-02-10T08:36:56.063" v="2529"/>
          <ac:picMkLst>
            <pc:docMk/>
            <pc:sldMk cId="3587341350" sldId="289"/>
            <ac:picMk id="6" creationId="{F64D6CA5-052F-4CB8-8CA2-068E937A9AEB}"/>
          </ac:picMkLst>
        </pc:picChg>
      </pc:sldChg>
      <pc:sldChg chg="addSp delSp modSp add mod">
        <pc:chgData name="Ingo Bethke" userId="0ace9986-83c7-40d8-aadc-a8d8d7c841c6" providerId="ADAL" clId="{644D9300-F2C6-3E45-A5CE-AEFA312B60A1}" dt="2023-02-13T04:11:16.485" v="9581" actId="20577"/>
        <pc:sldMkLst>
          <pc:docMk/>
          <pc:sldMk cId="1340770102" sldId="290"/>
        </pc:sldMkLst>
        <pc:spChg chg="mod">
          <ac:chgData name="Ingo Bethke" userId="0ace9986-83c7-40d8-aadc-a8d8d7c841c6" providerId="ADAL" clId="{644D9300-F2C6-3E45-A5CE-AEFA312B60A1}" dt="2023-02-12T10:15:24.917" v="5045"/>
          <ac:spMkLst>
            <pc:docMk/>
            <pc:sldMk cId="1340770102" sldId="290"/>
            <ac:spMk id="2" creationId="{00000000-0000-0000-0000-000000000000}"/>
          </ac:spMkLst>
        </pc:spChg>
        <pc:spChg chg="add mod">
          <ac:chgData name="Ingo Bethke" userId="0ace9986-83c7-40d8-aadc-a8d8d7c841c6" providerId="ADAL" clId="{644D9300-F2C6-3E45-A5CE-AEFA312B60A1}" dt="2023-02-13T00:36:36.503" v="9054" actId="20577"/>
          <ac:spMkLst>
            <pc:docMk/>
            <pc:sldMk cId="1340770102" sldId="290"/>
            <ac:spMk id="3" creationId="{F8E68F88-D597-AE7B-80A5-70E469DC937B}"/>
          </ac:spMkLst>
        </pc:spChg>
        <pc:spChg chg="add mod">
          <ac:chgData name="Ingo Bethke" userId="0ace9986-83c7-40d8-aadc-a8d8d7c841c6" providerId="ADAL" clId="{644D9300-F2C6-3E45-A5CE-AEFA312B60A1}" dt="2023-02-13T04:11:16.485" v="9581" actId="20577"/>
          <ac:spMkLst>
            <pc:docMk/>
            <pc:sldMk cId="1340770102" sldId="290"/>
            <ac:spMk id="5" creationId="{69B20D80-8893-62FD-CCB4-7E82113B08F9}"/>
          </ac:spMkLst>
        </pc:spChg>
        <pc:spChg chg="del">
          <ac:chgData name="Ingo Bethke" userId="0ace9986-83c7-40d8-aadc-a8d8d7c841c6" providerId="ADAL" clId="{644D9300-F2C6-3E45-A5CE-AEFA312B60A1}" dt="2023-02-10T13:41:33.917" v="2828" actId="478"/>
          <ac:spMkLst>
            <pc:docMk/>
            <pc:sldMk cId="1340770102" sldId="290"/>
            <ac:spMk id="9" creationId="{968646A3-B51B-A660-4DF9-CE2A28F900A6}"/>
          </ac:spMkLst>
        </pc:spChg>
        <pc:spChg chg="del">
          <ac:chgData name="Ingo Bethke" userId="0ace9986-83c7-40d8-aadc-a8d8d7c841c6" providerId="ADAL" clId="{644D9300-F2C6-3E45-A5CE-AEFA312B60A1}" dt="2023-02-10T13:49:08.270" v="2856" actId="478"/>
          <ac:spMkLst>
            <pc:docMk/>
            <pc:sldMk cId="1340770102" sldId="290"/>
            <ac:spMk id="10" creationId="{7A8F57DA-E426-CD40-7E56-32AC9076E549}"/>
          </ac:spMkLst>
        </pc:spChg>
        <pc:spChg chg="del">
          <ac:chgData name="Ingo Bethke" userId="0ace9986-83c7-40d8-aadc-a8d8d7c841c6" providerId="ADAL" clId="{644D9300-F2C6-3E45-A5CE-AEFA312B60A1}" dt="2023-02-10T13:41:33.917" v="2828" actId="478"/>
          <ac:spMkLst>
            <pc:docMk/>
            <pc:sldMk cId="1340770102" sldId="290"/>
            <ac:spMk id="11" creationId="{9E7CA2D6-FA32-8A60-F1FC-AABDAE4D5D2E}"/>
          </ac:spMkLst>
        </pc:spChg>
        <pc:spChg chg="add mod">
          <ac:chgData name="Ingo Bethke" userId="0ace9986-83c7-40d8-aadc-a8d8d7c841c6" providerId="ADAL" clId="{644D9300-F2C6-3E45-A5CE-AEFA312B60A1}" dt="2023-02-12T09:54:51.722" v="4623" actId="1038"/>
          <ac:spMkLst>
            <pc:docMk/>
            <pc:sldMk cId="1340770102" sldId="290"/>
            <ac:spMk id="16" creationId="{DCA94750-145F-D70D-2D9B-C93BF6AECC74}"/>
          </ac:spMkLst>
        </pc:spChg>
        <pc:spChg chg="del">
          <ac:chgData name="Ingo Bethke" userId="0ace9986-83c7-40d8-aadc-a8d8d7c841c6" providerId="ADAL" clId="{644D9300-F2C6-3E45-A5CE-AEFA312B60A1}" dt="2023-02-10T13:41:33.917" v="2828" actId="478"/>
          <ac:spMkLst>
            <pc:docMk/>
            <pc:sldMk cId="1340770102" sldId="290"/>
            <ac:spMk id="17" creationId="{BFA09E29-F007-06AF-A908-4E8A00CB6EC2}"/>
          </ac:spMkLst>
        </pc:spChg>
        <pc:spChg chg="add mod">
          <ac:chgData name="Ingo Bethke" userId="0ace9986-83c7-40d8-aadc-a8d8d7c841c6" providerId="ADAL" clId="{644D9300-F2C6-3E45-A5CE-AEFA312B60A1}" dt="2023-02-12T09:54:51.722" v="4623" actId="1038"/>
          <ac:spMkLst>
            <pc:docMk/>
            <pc:sldMk cId="1340770102" sldId="290"/>
            <ac:spMk id="18" creationId="{74CF7954-B4CC-3D39-9AE8-F9CE1CA740DC}"/>
          </ac:spMkLst>
        </pc:spChg>
        <pc:picChg chg="del">
          <ac:chgData name="Ingo Bethke" userId="0ace9986-83c7-40d8-aadc-a8d8d7c841c6" providerId="ADAL" clId="{644D9300-F2C6-3E45-A5CE-AEFA312B60A1}" dt="2023-02-10T13:41:33.917" v="2828" actId="478"/>
          <ac:picMkLst>
            <pc:docMk/>
            <pc:sldMk cId="1340770102" sldId="290"/>
            <ac:picMk id="3" creationId="{6BB334DA-7AC3-716B-213D-A14CA1E40187}"/>
          </ac:picMkLst>
        </pc:picChg>
        <pc:picChg chg="del">
          <ac:chgData name="Ingo Bethke" userId="0ace9986-83c7-40d8-aadc-a8d8d7c841c6" providerId="ADAL" clId="{644D9300-F2C6-3E45-A5CE-AEFA312B60A1}" dt="2023-02-10T13:41:33.917" v="2828" actId="478"/>
          <ac:picMkLst>
            <pc:docMk/>
            <pc:sldMk cId="1340770102" sldId="290"/>
            <ac:picMk id="5" creationId="{E81668A5-3ED6-4376-42B5-8F9618F19BB9}"/>
          </ac:picMkLst>
        </pc:picChg>
        <pc:picChg chg="del">
          <ac:chgData name="Ingo Bethke" userId="0ace9986-83c7-40d8-aadc-a8d8d7c841c6" providerId="ADAL" clId="{644D9300-F2C6-3E45-A5CE-AEFA312B60A1}" dt="2023-02-10T13:41:33.917" v="2828" actId="478"/>
          <ac:picMkLst>
            <pc:docMk/>
            <pc:sldMk cId="1340770102" sldId="290"/>
            <ac:picMk id="6" creationId="{B4401538-DDD5-E041-5458-0B066CB272E3}"/>
          </ac:picMkLst>
        </pc:picChg>
        <pc:picChg chg="del">
          <ac:chgData name="Ingo Bethke" userId="0ace9986-83c7-40d8-aadc-a8d8d7c841c6" providerId="ADAL" clId="{644D9300-F2C6-3E45-A5CE-AEFA312B60A1}" dt="2023-02-10T13:41:33.917" v="2828" actId="478"/>
          <ac:picMkLst>
            <pc:docMk/>
            <pc:sldMk cId="1340770102" sldId="290"/>
            <ac:picMk id="7" creationId="{ED66C0A4-DC44-4518-A26F-CF6CA2FCF0F8}"/>
          </ac:picMkLst>
        </pc:picChg>
        <pc:picChg chg="del">
          <ac:chgData name="Ingo Bethke" userId="0ace9986-83c7-40d8-aadc-a8d8d7c841c6" providerId="ADAL" clId="{644D9300-F2C6-3E45-A5CE-AEFA312B60A1}" dt="2023-02-10T13:41:33.917" v="2828" actId="478"/>
          <ac:picMkLst>
            <pc:docMk/>
            <pc:sldMk cId="1340770102" sldId="290"/>
            <ac:picMk id="8" creationId="{1879C3FF-7CC5-4E70-8DEE-081DF5A95C6F}"/>
          </ac:picMkLst>
        </pc:picChg>
        <pc:picChg chg="add mod modCrop">
          <ac:chgData name="Ingo Bethke" userId="0ace9986-83c7-40d8-aadc-a8d8d7c841c6" providerId="ADAL" clId="{644D9300-F2C6-3E45-A5CE-AEFA312B60A1}" dt="2023-02-12T09:54:51.722" v="4623" actId="1038"/>
          <ac:picMkLst>
            <pc:docMk/>
            <pc:sldMk cId="1340770102" sldId="290"/>
            <ac:picMk id="13" creationId="{B0871E6B-BDA4-8679-2A2E-1307C41A8D67}"/>
          </ac:picMkLst>
        </pc:picChg>
        <pc:picChg chg="add mod modCrop">
          <ac:chgData name="Ingo Bethke" userId="0ace9986-83c7-40d8-aadc-a8d8d7c841c6" providerId="ADAL" clId="{644D9300-F2C6-3E45-A5CE-AEFA312B60A1}" dt="2023-02-12T10:00:28.806" v="4795" actId="1036"/>
          <ac:picMkLst>
            <pc:docMk/>
            <pc:sldMk cId="1340770102" sldId="290"/>
            <ac:picMk id="15" creationId="{ED46C83C-9178-B280-60AE-EEFF31E7DF9F}"/>
          </ac:picMkLst>
        </pc:picChg>
      </pc:sldChg>
      <pc:sldChg chg="add del">
        <pc:chgData name="Ingo Bethke" userId="0ace9986-83c7-40d8-aadc-a8d8d7c841c6" providerId="ADAL" clId="{644D9300-F2C6-3E45-A5CE-AEFA312B60A1}" dt="2023-02-11T03:58:20.449" v="3668" actId="2696"/>
        <pc:sldMkLst>
          <pc:docMk/>
          <pc:sldMk cId="389285841" sldId="291"/>
        </pc:sldMkLst>
      </pc:sldChg>
      <pc:sldChg chg="addSp delSp modSp add mod">
        <pc:chgData name="Ingo Bethke" userId="0ace9986-83c7-40d8-aadc-a8d8d7c841c6" providerId="ADAL" clId="{644D9300-F2C6-3E45-A5CE-AEFA312B60A1}" dt="2023-02-12T14:45:52.872" v="8999"/>
        <pc:sldMkLst>
          <pc:docMk/>
          <pc:sldMk cId="2303852827" sldId="292"/>
        </pc:sldMkLst>
        <pc:spChg chg="mod">
          <ac:chgData name="Ingo Bethke" userId="0ace9986-83c7-40d8-aadc-a8d8d7c841c6" providerId="ADAL" clId="{644D9300-F2C6-3E45-A5CE-AEFA312B60A1}" dt="2023-02-11T06:09:06.730" v="3874" actId="20577"/>
          <ac:spMkLst>
            <pc:docMk/>
            <pc:sldMk cId="2303852827" sldId="292"/>
            <ac:spMk id="2" creationId="{00000000-0000-0000-0000-000000000000}"/>
          </ac:spMkLst>
        </pc:spChg>
        <pc:spChg chg="del mod">
          <ac:chgData name="Ingo Bethke" userId="0ace9986-83c7-40d8-aadc-a8d8d7c841c6" providerId="ADAL" clId="{644D9300-F2C6-3E45-A5CE-AEFA312B60A1}" dt="2023-02-12T14:45:22.274" v="8989" actId="478"/>
          <ac:spMkLst>
            <pc:docMk/>
            <pc:sldMk cId="2303852827" sldId="292"/>
            <ac:spMk id="3" creationId="{1059D8C1-A967-1F69-3272-E80B0A3A9FE6}"/>
          </ac:spMkLst>
        </pc:spChg>
        <pc:spChg chg="add del mod">
          <ac:chgData name="Ingo Bethke" userId="0ace9986-83c7-40d8-aadc-a8d8d7c841c6" providerId="ADAL" clId="{644D9300-F2C6-3E45-A5CE-AEFA312B60A1}" dt="2023-02-11T03:17:51.357" v="3512" actId="478"/>
          <ac:spMkLst>
            <pc:docMk/>
            <pc:sldMk cId="2303852827" sldId="292"/>
            <ac:spMk id="16" creationId="{9F798891-E185-F301-7514-6D39BCFEE59C}"/>
          </ac:spMkLst>
        </pc:spChg>
        <pc:spChg chg="add mod">
          <ac:chgData name="Ingo Bethke" userId="0ace9986-83c7-40d8-aadc-a8d8d7c841c6" providerId="ADAL" clId="{644D9300-F2C6-3E45-A5CE-AEFA312B60A1}" dt="2023-02-12T14:45:43.254" v="8995"/>
          <ac:spMkLst>
            <pc:docMk/>
            <pc:sldMk cId="2303852827" sldId="292"/>
            <ac:spMk id="16" creationId="{A206E621-ECB2-46BB-DDCD-58D1B7B88E59}"/>
          </ac:spMkLst>
        </pc:spChg>
        <pc:spChg chg="mod">
          <ac:chgData name="Ingo Bethke" userId="0ace9986-83c7-40d8-aadc-a8d8d7c841c6" providerId="ADAL" clId="{644D9300-F2C6-3E45-A5CE-AEFA312B60A1}" dt="2023-02-11T03:09:21.972" v="3370" actId="1036"/>
          <ac:spMkLst>
            <pc:docMk/>
            <pc:sldMk cId="2303852827" sldId="292"/>
            <ac:spMk id="18" creationId="{8D7074DC-7B3F-7626-1E48-3A6C567DA483}"/>
          </ac:spMkLst>
        </pc:spChg>
        <pc:spChg chg="add del mod">
          <ac:chgData name="Ingo Bethke" userId="0ace9986-83c7-40d8-aadc-a8d8d7c841c6" providerId="ADAL" clId="{644D9300-F2C6-3E45-A5CE-AEFA312B60A1}" dt="2023-02-11T03:19:07.616" v="3557" actId="1036"/>
          <ac:spMkLst>
            <pc:docMk/>
            <pc:sldMk cId="2303852827" sldId="292"/>
            <ac:spMk id="19" creationId="{5CA55812-7B49-37A4-9D69-F157A816A4EF}"/>
          </ac:spMkLst>
        </pc:spChg>
        <pc:spChg chg="add mod">
          <ac:chgData name="Ingo Bethke" userId="0ace9986-83c7-40d8-aadc-a8d8d7c841c6" providerId="ADAL" clId="{644D9300-F2C6-3E45-A5CE-AEFA312B60A1}" dt="2023-02-11T03:18:47.067" v="3554" actId="1076"/>
          <ac:spMkLst>
            <pc:docMk/>
            <pc:sldMk cId="2303852827" sldId="292"/>
            <ac:spMk id="20" creationId="{48A3AFEB-9EAF-73A5-FA92-5A7FEAEE8AF2}"/>
          </ac:spMkLst>
        </pc:spChg>
        <pc:spChg chg="del mod">
          <ac:chgData name="Ingo Bethke" userId="0ace9986-83c7-40d8-aadc-a8d8d7c841c6" providerId="ADAL" clId="{644D9300-F2C6-3E45-A5CE-AEFA312B60A1}" dt="2023-02-12T14:45:20.819" v="8988" actId="478"/>
          <ac:spMkLst>
            <pc:docMk/>
            <pc:sldMk cId="2303852827" sldId="292"/>
            <ac:spMk id="21" creationId="{BB0A9E55-ABB1-8354-528D-33799D5B5C5A}"/>
          </ac:spMkLst>
        </pc:spChg>
        <pc:spChg chg="mod">
          <ac:chgData name="Ingo Bethke" userId="0ace9986-83c7-40d8-aadc-a8d8d7c841c6" providerId="ADAL" clId="{644D9300-F2C6-3E45-A5CE-AEFA312B60A1}" dt="2023-02-11T03:09:13.679" v="3354" actId="167"/>
          <ac:spMkLst>
            <pc:docMk/>
            <pc:sldMk cId="2303852827" sldId="292"/>
            <ac:spMk id="23" creationId="{D3B62D83-8E70-BB43-5859-62FC7CD72CB9}"/>
          </ac:spMkLst>
        </pc:spChg>
        <pc:spChg chg="add mod">
          <ac:chgData name="Ingo Bethke" userId="0ace9986-83c7-40d8-aadc-a8d8d7c841c6" providerId="ADAL" clId="{644D9300-F2C6-3E45-A5CE-AEFA312B60A1}" dt="2023-02-12T14:45:52.872" v="8999"/>
          <ac:spMkLst>
            <pc:docMk/>
            <pc:sldMk cId="2303852827" sldId="292"/>
            <ac:spMk id="24" creationId="{06D4BBC9-59CF-EA22-6672-F3721D8F1F6E}"/>
          </ac:spMkLst>
        </pc:spChg>
        <pc:picChg chg="mod">
          <ac:chgData name="Ingo Bethke" userId="0ace9986-83c7-40d8-aadc-a8d8d7c841c6" providerId="ADAL" clId="{644D9300-F2C6-3E45-A5CE-AEFA312B60A1}" dt="2023-02-11T03:07:38.565" v="3287" actId="14826"/>
          <ac:picMkLst>
            <pc:docMk/>
            <pc:sldMk cId="2303852827" sldId="292"/>
            <ac:picMk id="4" creationId="{BBF8734C-8296-4B2B-66F6-8162974C80A6}"/>
          </ac:picMkLst>
        </pc:picChg>
        <pc:picChg chg="add mod">
          <ac:chgData name="Ingo Bethke" userId="0ace9986-83c7-40d8-aadc-a8d8d7c841c6" providerId="ADAL" clId="{644D9300-F2C6-3E45-A5CE-AEFA312B60A1}" dt="2023-02-11T03:15:54.360" v="3510" actId="14826"/>
          <ac:picMkLst>
            <pc:docMk/>
            <pc:sldMk cId="2303852827" sldId="292"/>
            <ac:picMk id="5" creationId="{DAAEA670-9924-7FFB-3A56-795F7A30F6A9}"/>
          </ac:picMkLst>
        </pc:picChg>
        <pc:picChg chg="mod">
          <ac:chgData name="Ingo Bethke" userId="0ace9986-83c7-40d8-aadc-a8d8d7c841c6" providerId="ADAL" clId="{644D9300-F2C6-3E45-A5CE-AEFA312B60A1}" dt="2023-02-11T03:09:21.972" v="3370" actId="1036"/>
          <ac:picMkLst>
            <pc:docMk/>
            <pc:sldMk cId="2303852827" sldId="292"/>
            <ac:picMk id="7" creationId="{66AF29A3-7BBF-B9D1-D41E-A2D7BF8D2D08}"/>
          </ac:picMkLst>
        </pc:picChg>
        <pc:picChg chg="add mod">
          <ac:chgData name="Ingo Bethke" userId="0ace9986-83c7-40d8-aadc-a8d8d7c841c6" providerId="ADAL" clId="{644D9300-F2C6-3E45-A5CE-AEFA312B60A1}" dt="2023-02-11T03:16:05.392" v="3511" actId="14826"/>
          <ac:picMkLst>
            <pc:docMk/>
            <pc:sldMk cId="2303852827" sldId="292"/>
            <ac:picMk id="13" creationId="{33957E3D-3145-8B2A-F647-8603C829BDC3}"/>
          </ac:picMkLst>
        </pc:picChg>
        <pc:picChg chg="mod">
          <ac:chgData name="Ingo Bethke" userId="0ace9986-83c7-40d8-aadc-a8d8d7c841c6" providerId="ADAL" clId="{644D9300-F2C6-3E45-A5CE-AEFA312B60A1}" dt="2023-02-11T03:09:13.679" v="3354" actId="167"/>
          <ac:picMkLst>
            <pc:docMk/>
            <pc:sldMk cId="2303852827" sldId="292"/>
            <ac:picMk id="22" creationId="{FD597CEB-DC9C-3899-7F73-226A95BD7B1E}"/>
          </ac:picMkLst>
        </pc:picChg>
      </pc:sldChg>
      <pc:sldChg chg="addSp delSp modSp add mod">
        <pc:chgData name="Ingo Bethke" userId="0ace9986-83c7-40d8-aadc-a8d8d7c841c6" providerId="ADAL" clId="{644D9300-F2C6-3E45-A5CE-AEFA312B60A1}" dt="2023-02-12T14:45:51.010" v="8998" actId="1038"/>
        <pc:sldMkLst>
          <pc:docMk/>
          <pc:sldMk cId="3781813668" sldId="293"/>
        </pc:sldMkLst>
        <pc:spChg chg="mod">
          <ac:chgData name="Ingo Bethke" userId="0ace9986-83c7-40d8-aadc-a8d8d7c841c6" providerId="ADAL" clId="{644D9300-F2C6-3E45-A5CE-AEFA312B60A1}" dt="2023-02-11T06:08:54.494" v="3849" actId="20577"/>
          <ac:spMkLst>
            <pc:docMk/>
            <pc:sldMk cId="3781813668" sldId="293"/>
            <ac:spMk id="2" creationId="{00000000-0000-0000-0000-000000000000}"/>
          </ac:spMkLst>
        </pc:spChg>
        <pc:spChg chg="del">
          <ac:chgData name="Ingo Bethke" userId="0ace9986-83c7-40d8-aadc-a8d8d7c841c6" providerId="ADAL" clId="{644D9300-F2C6-3E45-A5CE-AEFA312B60A1}" dt="2023-02-11T06:10:38.363" v="3913" actId="478"/>
          <ac:spMkLst>
            <pc:docMk/>
            <pc:sldMk cId="3781813668" sldId="293"/>
            <ac:spMk id="3" creationId="{1059D8C1-A967-1F69-3272-E80B0A3A9FE6}"/>
          </ac:spMkLst>
        </pc:spChg>
        <pc:spChg chg="add mod">
          <ac:chgData name="Ingo Bethke" userId="0ace9986-83c7-40d8-aadc-a8d8d7c841c6" providerId="ADAL" clId="{644D9300-F2C6-3E45-A5CE-AEFA312B60A1}" dt="2023-02-12T14:45:39.904" v="8994" actId="1038"/>
          <ac:spMkLst>
            <pc:docMk/>
            <pc:sldMk cId="3781813668" sldId="293"/>
            <ac:spMk id="3" creationId="{13A2600A-880B-AA82-2BAE-2FA5669408E3}"/>
          </ac:spMkLst>
        </pc:spChg>
        <pc:spChg chg="add del mod">
          <ac:chgData name="Ingo Bethke" userId="0ace9986-83c7-40d8-aadc-a8d8d7c841c6" providerId="ADAL" clId="{644D9300-F2C6-3E45-A5CE-AEFA312B60A1}" dt="2023-02-12T14:45:29.235" v="8990" actId="478"/>
          <ac:spMkLst>
            <pc:docMk/>
            <pc:sldMk cId="3781813668" sldId="293"/>
            <ac:spMk id="16" creationId="{98C451CA-9526-E184-0E81-FD54821D5ABC}"/>
          </ac:spMkLst>
        </pc:spChg>
        <pc:spChg chg="del mod">
          <ac:chgData name="Ingo Bethke" userId="0ace9986-83c7-40d8-aadc-a8d8d7c841c6" providerId="ADAL" clId="{644D9300-F2C6-3E45-A5CE-AEFA312B60A1}" dt="2023-02-11T06:10:37.015" v="3912" actId="478"/>
          <ac:spMkLst>
            <pc:docMk/>
            <pc:sldMk cId="3781813668" sldId="293"/>
            <ac:spMk id="21" creationId="{BB0A9E55-ABB1-8354-528D-33799D5B5C5A}"/>
          </ac:spMkLst>
        </pc:spChg>
        <pc:spChg chg="add mod">
          <ac:chgData name="Ingo Bethke" userId="0ace9986-83c7-40d8-aadc-a8d8d7c841c6" providerId="ADAL" clId="{644D9300-F2C6-3E45-A5CE-AEFA312B60A1}" dt="2023-02-12T14:45:51.010" v="8998" actId="1038"/>
          <ac:spMkLst>
            <pc:docMk/>
            <pc:sldMk cId="3781813668" sldId="293"/>
            <ac:spMk id="21" creationId="{E496FD15-3600-7692-7049-53FD7C64F3A8}"/>
          </ac:spMkLst>
        </pc:spChg>
        <pc:spChg chg="add del mod">
          <ac:chgData name="Ingo Bethke" userId="0ace9986-83c7-40d8-aadc-a8d8d7c841c6" providerId="ADAL" clId="{644D9300-F2C6-3E45-A5CE-AEFA312B60A1}" dt="2023-02-12T14:45:30.712" v="8991" actId="478"/>
          <ac:spMkLst>
            <pc:docMk/>
            <pc:sldMk cId="3781813668" sldId="293"/>
            <ac:spMk id="24" creationId="{66D1127F-780C-2FA6-CD33-6E9F7A3F4AA5}"/>
          </ac:spMkLst>
        </pc:spChg>
        <pc:picChg chg="mod">
          <ac:chgData name="Ingo Bethke" userId="0ace9986-83c7-40d8-aadc-a8d8d7c841c6" providerId="ADAL" clId="{644D9300-F2C6-3E45-A5CE-AEFA312B60A1}" dt="2023-02-11T03:40:48.165" v="3559" actId="14826"/>
          <ac:picMkLst>
            <pc:docMk/>
            <pc:sldMk cId="3781813668" sldId="293"/>
            <ac:picMk id="4" creationId="{BBF8734C-8296-4B2B-66F6-8162974C80A6}"/>
          </ac:picMkLst>
        </pc:picChg>
      </pc:sldChg>
      <pc:sldChg chg="addSp delSp modSp add mod">
        <pc:chgData name="Ingo Bethke" userId="0ace9986-83c7-40d8-aadc-a8d8d7c841c6" providerId="ADAL" clId="{644D9300-F2C6-3E45-A5CE-AEFA312B60A1}" dt="2023-02-12T14:44:45.061" v="8987" actId="1076"/>
        <pc:sldMkLst>
          <pc:docMk/>
          <pc:sldMk cId="3513086112" sldId="294"/>
        </pc:sldMkLst>
        <pc:spChg chg="mod">
          <ac:chgData name="Ingo Bethke" userId="0ace9986-83c7-40d8-aadc-a8d8d7c841c6" providerId="ADAL" clId="{644D9300-F2C6-3E45-A5CE-AEFA312B60A1}" dt="2023-02-11T06:08:14.413" v="3823" actId="20577"/>
          <ac:spMkLst>
            <pc:docMk/>
            <pc:sldMk cId="3513086112" sldId="294"/>
            <ac:spMk id="2" creationId="{00000000-0000-0000-0000-000000000000}"/>
          </ac:spMkLst>
        </pc:spChg>
        <pc:spChg chg="del">
          <ac:chgData name="Ingo Bethke" userId="0ace9986-83c7-40d8-aadc-a8d8d7c841c6" providerId="ADAL" clId="{644D9300-F2C6-3E45-A5CE-AEFA312B60A1}" dt="2023-02-11T06:07:38.284" v="3798" actId="478"/>
          <ac:spMkLst>
            <pc:docMk/>
            <pc:sldMk cId="3513086112" sldId="294"/>
            <ac:spMk id="3" creationId="{1059D8C1-A967-1F69-3272-E80B0A3A9FE6}"/>
          </ac:spMkLst>
        </pc:spChg>
        <pc:spChg chg="add mod">
          <ac:chgData name="Ingo Bethke" userId="0ace9986-83c7-40d8-aadc-a8d8d7c841c6" providerId="ADAL" clId="{644D9300-F2C6-3E45-A5CE-AEFA312B60A1}" dt="2023-02-12T14:44:07.778" v="8960" actId="1036"/>
          <ac:spMkLst>
            <pc:docMk/>
            <pc:sldMk cId="3513086112" sldId="294"/>
            <ac:spMk id="3" creationId="{406ECBB9-A53C-B6BB-1F89-FD98F5F7AFEF}"/>
          </ac:spMkLst>
        </pc:spChg>
        <pc:spChg chg="add del mod">
          <ac:chgData name="Ingo Bethke" userId="0ace9986-83c7-40d8-aadc-a8d8d7c841c6" providerId="ADAL" clId="{644D9300-F2C6-3E45-A5CE-AEFA312B60A1}" dt="2023-02-11T06:14:44.903" v="3919" actId="478"/>
          <ac:spMkLst>
            <pc:docMk/>
            <pc:sldMk cId="3513086112" sldId="294"/>
            <ac:spMk id="16" creationId="{893B5083-9751-EF8F-98B8-F44B5DD4AB8C}"/>
          </ac:spMkLst>
        </pc:spChg>
        <pc:spChg chg="add mod">
          <ac:chgData name="Ingo Bethke" userId="0ace9986-83c7-40d8-aadc-a8d8d7c841c6" providerId="ADAL" clId="{644D9300-F2C6-3E45-A5CE-AEFA312B60A1}" dt="2023-02-12T14:44:23.250" v="8981" actId="1036"/>
          <ac:spMkLst>
            <pc:docMk/>
            <pc:sldMk cId="3513086112" sldId="294"/>
            <ac:spMk id="16" creationId="{F2B39B44-573D-68A7-2125-F5E91794127A}"/>
          </ac:spMkLst>
        </pc:spChg>
        <pc:spChg chg="del mod">
          <ac:chgData name="Ingo Bethke" userId="0ace9986-83c7-40d8-aadc-a8d8d7c841c6" providerId="ADAL" clId="{644D9300-F2C6-3E45-A5CE-AEFA312B60A1}" dt="2023-02-11T06:08:22.713" v="3824" actId="478"/>
          <ac:spMkLst>
            <pc:docMk/>
            <pc:sldMk cId="3513086112" sldId="294"/>
            <ac:spMk id="21" creationId="{BB0A9E55-ABB1-8354-528D-33799D5B5C5A}"/>
          </ac:spMkLst>
        </pc:spChg>
        <pc:spChg chg="add del mod">
          <ac:chgData name="Ingo Bethke" userId="0ace9986-83c7-40d8-aadc-a8d8d7c841c6" providerId="ADAL" clId="{644D9300-F2C6-3E45-A5CE-AEFA312B60A1}" dt="2023-02-11T06:14:42.962" v="3918" actId="478"/>
          <ac:spMkLst>
            <pc:docMk/>
            <pc:sldMk cId="3513086112" sldId="294"/>
            <ac:spMk id="24" creationId="{79137763-843D-E9B8-10ED-9576D7467DAB}"/>
          </ac:spMkLst>
        </pc:spChg>
        <pc:spChg chg="add mod">
          <ac:chgData name="Ingo Bethke" userId="0ace9986-83c7-40d8-aadc-a8d8d7c841c6" providerId="ADAL" clId="{644D9300-F2C6-3E45-A5CE-AEFA312B60A1}" dt="2023-02-12T14:44:45.061" v="8987" actId="1076"/>
          <ac:spMkLst>
            <pc:docMk/>
            <pc:sldMk cId="3513086112" sldId="294"/>
            <ac:spMk id="24" creationId="{7D114EA4-EF36-A426-45A9-9B8E8810C3A3}"/>
          </ac:spMkLst>
        </pc:spChg>
        <pc:spChg chg="add del mod">
          <ac:chgData name="Ingo Bethke" userId="0ace9986-83c7-40d8-aadc-a8d8d7c841c6" providerId="ADAL" clId="{644D9300-F2C6-3E45-A5CE-AEFA312B60A1}" dt="2023-02-11T23:07:08.795" v="4168" actId="21"/>
          <ac:spMkLst>
            <pc:docMk/>
            <pc:sldMk cId="3513086112" sldId="294"/>
            <ac:spMk id="27" creationId="{0431A14F-0BE0-7148-C162-646D80E4F71F}"/>
          </ac:spMkLst>
        </pc:spChg>
        <pc:picChg chg="mod">
          <ac:chgData name="Ingo Bethke" userId="0ace9986-83c7-40d8-aadc-a8d8d7c841c6" providerId="ADAL" clId="{644D9300-F2C6-3E45-A5CE-AEFA312B60A1}" dt="2023-02-11T03:55:08.615" v="3581" actId="14826"/>
          <ac:picMkLst>
            <pc:docMk/>
            <pc:sldMk cId="3513086112" sldId="294"/>
            <ac:picMk id="4" creationId="{BBF8734C-8296-4B2B-66F6-8162974C80A6}"/>
          </ac:picMkLst>
        </pc:picChg>
        <pc:picChg chg="mod">
          <ac:chgData name="Ingo Bethke" userId="0ace9986-83c7-40d8-aadc-a8d8d7c841c6" providerId="ADAL" clId="{644D9300-F2C6-3E45-A5CE-AEFA312B60A1}" dt="2023-02-11T03:54:03.475" v="3579" actId="14826"/>
          <ac:picMkLst>
            <pc:docMk/>
            <pc:sldMk cId="3513086112" sldId="294"/>
            <ac:picMk id="5" creationId="{DAAEA670-9924-7FFB-3A56-795F7A30F6A9}"/>
          </ac:picMkLst>
        </pc:picChg>
        <pc:picChg chg="mod">
          <ac:chgData name="Ingo Bethke" userId="0ace9986-83c7-40d8-aadc-a8d8d7c841c6" providerId="ADAL" clId="{644D9300-F2C6-3E45-A5CE-AEFA312B60A1}" dt="2023-02-11T03:51:26.817" v="3575" actId="14826"/>
          <ac:picMkLst>
            <pc:docMk/>
            <pc:sldMk cId="3513086112" sldId="294"/>
            <ac:picMk id="8" creationId="{7A7297A2-FA1A-69E4-D104-024A8FDD34E4}"/>
          </ac:picMkLst>
        </pc:picChg>
        <pc:picChg chg="mod">
          <ac:chgData name="Ingo Bethke" userId="0ace9986-83c7-40d8-aadc-a8d8d7c841c6" providerId="ADAL" clId="{644D9300-F2C6-3E45-A5CE-AEFA312B60A1}" dt="2023-02-11T03:51:55.925" v="3577" actId="14826"/>
          <ac:picMkLst>
            <pc:docMk/>
            <pc:sldMk cId="3513086112" sldId="294"/>
            <ac:picMk id="11" creationId="{9922FD65-2AF9-6AEB-F3C6-88FDB4109F9A}"/>
          </ac:picMkLst>
        </pc:picChg>
        <pc:picChg chg="mod">
          <ac:chgData name="Ingo Bethke" userId="0ace9986-83c7-40d8-aadc-a8d8d7c841c6" providerId="ADAL" clId="{644D9300-F2C6-3E45-A5CE-AEFA312B60A1}" dt="2023-02-11T03:54:18.478" v="3580" actId="14826"/>
          <ac:picMkLst>
            <pc:docMk/>
            <pc:sldMk cId="3513086112" sldId="294"/>
            <ac:picMk id="13" creationId="{33957E3D-3145-8B2A-F647-8603C829BDC3}"/>
          </ac:picMkLst>
        </pc:picChg>
        <pc:picChg chg="mod">
          <ac:chgData name="Ingo Bethke" userId="0ace9986-83c7-40d8-aadc-a8d8d7c841c6" providerId="ADAL" clId="{644D9300-F2C6-3E45-A5CE-AEFA312B60A1}" dt="2023-02-11T03:51:42.585" v="3576" actId="14826"/>
          <ac:picMkLst>
            <pc:docMk/>
            <pc:sldMk cId="3513086112" sldId="294"/>
            <ac:picMk id="14" creationId="{D394484C-9262-C6EC-D512-DD6D63A95671}"/>
          </ac:picMkLst>
        </pc:picChg>
        <pc:picChg chg="mod">
          <ac:chgData name="Ingo Bethke" userId="0ace9986-83c7-40d8-aadc-a8d8d7c841c6" providerId="ADAL" clId="{644D9300-F2C6-3E45-A5CE-AEFA312B60A1}" dt="2023-02-11T03:52:08.354" v="3578" actId="14826"/>
          <ac:picMkLst>
            <pc:docMk/>
            <pc:sldMk cId="3513086112" sldId="294"/>
            <ac:picMk id="15" creationId="{510034F0-C0B1-7FAB-CF1F-D17E1307C9C2}"/>
          </ac:picMkLst>
        </pc:picChg>
        <pc:picChg chg="add mod">
          <ac:chgData name="Ingo Bethke" userId="0ace9986-83c7-40d8-aadc-a8d8d7c841c6" providerId="ADAL" clId="{644D9300-F2C6-3E45-A5CE-AEFA312B60A1}" dt="2023-02-12T14:44:40.358" v="8986" actId="12788"/>
          <ac:picMkLst>
            <pc:docMk/>
            <pc:sldMk cId="3513086112" sldId="294"/>
            <ac:picMk id="21" creationId="{21B98895-2A45-B1E4-C8FE-BE9A91C3F0EF}"/>
          </ac:picMkLst>
        </pc:picChg>
        <pc:picChg chg="add del mod">
          <ac:chgData name="Ingo Bethke" userId="0ace9986-83c7-40d8-aadc-a8d8d7c841c6" providerId="ADAL" clId="{644D9300-F2C6-3E45-A5CE-AEFA312B60A1}" dt="2023-02-11T23:04:38.968" v="4152" actId="21"/>
          <ac:picMkLst>
            <pc:docMk/>
            <pc:sldMk cId="3513086112" sldId="294"/>
            <ac:picMk id="26" creationId="{50A4360E-A6B4-F216-E754-88012502F527}"/>
          </ac:picMkLst>
        </pc:picChg>
      </pc:sldChg>
      <pc:sldChg chg="addSp modSp add mod">
        <pc:chgData name="Ingo Bethke" userId="0ace9986-83c7-40d8-aadc-a8d8d7c841c6" providerId="ADAL" clId="{644D9300-F2C6-3E45-A5CE-AEFA312B60A1}" dt="2023-02-11T13:16:57.343" v="4111" actId="1038"/>
        <pc:sldMkLst>
          <pc:docMk/>
          <pc:sldMk cId="1064631103" sldId="295"/>
        </pc:sldMkLst>
        <pc:spChg chg="add mod">
          <ac:chgData name="Ingo Bethke" userId="0ace9986-83c7-40d8-aadc-a8d8d7c841c6" providerId="ADAL" clId="{644D9300-F2C6-3E45-A5CE-AEFA312B60A1}" dt="2023-02-11T13:16:57.343" v="4111" actId="1038"/>
          <ac:spMkLst>
            <pc:docMk/>
            <pc:sldMk cId="1064631103" sldId="295"/>
            <ac:spMk id="2" creationId="{64ABF845-2208-4B9B-663D-986723104C3B}"/>
          </ac:spMkLst>
        </pc:spChg>
        <pc:spChg chg="mod">
          <ac:chgData name="Ingo Bethke" userId="0ace9986-83c7-40d8-aadc-a8d8d7c841c6" providerId="ADAL" clId="{644D9300-F2C6-3E45-A5CE-AEFA312B60A1}" dt="2023-02-11T12:53:40.511" v="4064" actId="20577"/>
          <ac:spMkLst>
            <pc:docMk/>
            <pc:sldMk cId="1064631103" sldId="295"/>
            <ac:spMk id="11" creationId="{68A60CD2-458B-E7E8-5660-139D1F19598F}"/>
          </ac:spMkLst>
        </pc:spChg>
        <pc:picChg chg="mod">
          <ac:chgData name="Ingo Bethke" userId="0ace9986-83c7-40d8-aadc-a8d8d7c841c6" providerId="ADAL" clId="{644D9300-F2C6-3E45-A5CE-AEFA312B60A1}" dt="2023-02-11T12:49:35.822" v="4052" actId="14826"/>
          <ac:picMkLst>
            <pc:docMk/>
            <pc:sldMk cId="1064631103" sldId="295"/>
            <ac:picMk id="12" creationId="{B2623B4B-6E40-6CCB-F071-086CCC5D1079}"/>
          </ac:picMkLst>
        </pc:picChg>
        <pc:picChg chg="mod">
          <ac:chgData name="Ingo Bethke" userId="0ace9986-83c7-40d8-aadc-a8d8d7c841c6" providerId="ADAL" clId="{644D9300-F2C6-3E45-A5CE-AEFA312B60A1}" dt="2023-02-11T12:50:32.559" v="4054" actId="14826"/>
          <ac:picMkLst>
            <pc:docMk/>
            <pc:sldMk cId="1064631103" sldId="295"/>
            <ac:picMk id="17" creationId="{E5721856-F763-1C0E-8AD0-E854D5ADBA80}"/>
          </ac:picMkLst>
        </pc:picChg>
        <pc:picChg chg="mod">
          <ac:chgData name="Ingo Bethke" userId="0ace9986-83c7-40d8-aadc-a8d8d7c841c6" providerId="ADAL" clId="{644D9300-F2C6-3E45-A5CE-AEFA312B60A1}" dt="2023-02-11T12:50:10.475" v="4053" actId="14826"/>
          <ac:picMkLst>
            <pc:docMk/>
            <pc:sldMk cId="1064631103" sldId="295"/>
            <ac:picMk id="21" creationId="{CBF16F09-E6F3-4FEB-F2A7-97999B85BC01}"/>
          </ac:picMkLst>
        </pc:picChg>
        <pc:picChg chg="mod">
          <ac:chgData name="Ingo Bethke" userId="0ace9986-83c7-40d8-aadc-a8d8d7c841c6" providerId="ADAL" clId="{644D9300-F2C6-3E45-A5CE-AEFA312B60A1}" dt="2023-02-11T12:50:56.591" v="4055" actId="14826"/>
          <ac:picMkLst>
            <pc:docMk/>
            <pc:sldMk cId="1064631103" sldId="295"/>
            <ac:picMk id="22" creationId="{F3DDAD37-AE08-37C7-D8B6-0606EE660501}"/>
          </ac:picMkLst>
        </pc:picChg>
        <pc:picChg chg="mod">
          <ac:chgData name="Ingo Bethke" userId="0ace9986-83c7-40d8-aadc-a8d8d7c841c6" providerId="ADAL" clId="{644D9300-F2C6-3E45-A5CE-AEFA312B60A1}" dt="2023-02-11T12:51:32.741" v="4056" actId="14826"/>
          <ac:picMkLst>
            <pc:docMk/>
            <pc:sldMk cId="1064631103" sldId="295"/>
            <ac:picMk id="23" creationId="{200AB0C5-4461-0EE1-4782-625046BE1AAE}"/>
          </ac:picMkLst>
        </pc:picChg>
      </pc:sldChg>
      <pc:sldChg chg="addSp modSp add mod">
        <pc:chgData name="Ingo Bethke" userId="0ace9986-83c7-40d8-aadc-a8d8d7c841c6" providerId="ADAL" clId="{644D9300-F2C6-3E45-A5CE-AEFA312B60A1}" dt="2023-02-11T13:18:17.238" v="4132" actId="1038"/>
        <pc:sldMkLst>
          <pc:docMk/>
          <pc:sldMk cId="3456506905" sldId="296"/>
        </pc:sldMkLst>
        <pc:spChg chg="add mod">
          <ac:chgData name="Ingo Bethke" userId="0ace9986-83c7-40d8-aadc-a8d8d7c841c6" providerId="ADAL" clId="{644D9300-F2C6-3E45-A5CE-AEFA312B60A1}" dt="2023-02-11T13:18:17.238" v="4132" actId="1038"/>
          <ac:spMkLst>
            <pc:docMk/>
            <pc:sldMk cId="3456506905" sldId="296"/>
            <ac:spMk id="2" creationId="{1B8E5DFC-C525-D866-9EE3-5F1D2CF08350}"/>
          </ac:spMkLst>
        </pc:spChg>
        <pc:spChg chg="mod">
          <ac:chgData name="Ingo Bethke" userId="0ace9986-83c7-40d8-aadc-a8d8d7c841c6" providerId="ADAL" clId="{644D9300-F2C6-3E45-A5CE-AEFA312B60A1}" dt="2023-02-11T13:17:21.416" v="4128" actId="20577"/>
          <ac:spMkLst>
            <pc:docMk/>
            <pc:sldMk cId="3456506905" sldId="296"/>
            <ac:spMk id="11" creationId="{68A60CD2-458B-E7E8-5660-139D1F19598F}"/>
          </ac:spMkLst>
        </pc:spChg>
        <pc:picChg chg="mod">
          <ac:chgData name="Ingo Bethke" userId="0ace9986-83c7-40d8-aadc-a8d8d7c841c6" providerId="ADAL" clId="{644D9300-F2C6-3E45-A5CE-AEFA312B60A1}" dt="2023-02-11T13:08:56.383" v="4065" actId="14826"/>
          <ac:picMkLst>
            <pc:docMk/>
            <pc:sldMk cId="3456506905" sldId="296"/>
            <ac:picMk id="12" creationId="{B2623B4B-6E40-6CCB-F071-086CCC5D1079}"/>
          </ac:picMkLst>
        </pc:picChg>
        <pc:picChg chg="mod">
          <ac:chgData name="Ingo Bethke" userId="0ace9986-83c7-40d8-aadc-a8d8d7c841c6" providerId="ADAL" clId="{644D9300-F2C6-3E45-A5CE-AEFA312B60A1}" dt="2023-02-11T13:10:49.732" v="4069" actId="14826"/>
          <ac:picMkLst>
            <pc:docMk/>
            <pc:sldMk cId="3456506905" sldId="296"/>
            <ac:picMk id="17" creationId="{E5721856-F763-1C0E-8AD0-E854D5ADBA80}"/>
          </ac:picMkLst>
        </pc:picChg>
        <pc:picChg chg="mod">
          <ac:chgData name="Ingo Bethke" userId="0ace9986-83c7-40d8-aadc-a8d8d7c841c6" providerId="ADAL" clId="{644D9300-F2C6-3E45-A5CE-AEFA312B60A1}" dt="2023-02-11T13:10:33.490" v="4068" actId="14826"/>
          <ac:picMkLst>
            <pc:docMk/>
            <pc:sldMk cId="3456506905" sldId="296"/>
            <ac:picMk id="21" creationId="{CBF16F09-E6F3-4FEB-F2A7-97999B85BC01}"/>
          </ac:picMkLst>
        </pc:picChg>
        <pc:picChg chg="mod">
          <ac:chgData name="Ingo Bethke" userId="0ace9986-83c7-40d8-aadc-a8d8d7c841c6" providerId="ADAL" clId="{644D9300-F2C6-3E45-A5CE-AEFA312B60A1}" dt="2023-02-11T13:11:32.381" v="4070" actId="14826"/>
          <ac:picMkLst>
            <pc:docMk/>
            <pc:sldMk cId="3456506905" sldId="296"/>
            <ac:picMk id="22" creationId="{F3DDAD37-AE08-37C7-D8B6-0606EE660501}"/>
          </ac:picMkLst>
        </pc:picChg>
        <pc:picChg chg="mod">
          <ac:chgData name="Ingo Bethke" userId="0ace9986-83c7-40d8-aadc-a8d8d7c841c6" providerId="ADAL" clId="{644D9300-F2C6-3E45-A5CE-AEFA312B60A1}" dt="2023-02-11T13:13:53.481" v="4073" actId="14826"/>
          <ac:picMkLst>
            <pc:docMk/>
            <pc:sldMk cId="3456506905" sldId="296"/>
            <ac:picMk id="23" creationId="{200AB0C5-4461-0EE1-4782-625046BE1AAE}"/>
          </ac:picMkLst>
        </pc:picChg>
      </pc:sldChg>
      <pc:sldChg chg="modSp add mod">
        <pc:chgData name="Ingo Bethke" userId="0ace9986-83c7-40d8-aadc-a8d8d7c841c6" providerId="ADAL" clId="{644D9300-F2C6-3E45-A5CE-AEFA312B60A1}" dt="2023-02-12T12:00:42.455" v="8057" actId="20577"/>
        <pc:sldMkLst>
          <pc:docMk/>
          <pc:sldMk cId="4131528814" sldId="297"/>
        </pc:sldMkLst>
        <pc:spChg chg="mod">
          <ac:chgData name="Ingo Bethke" userId="0ace9986-83c7-40d8-aadc-a8d8d7c841c6" providerId="ADAL" clId="{644D9300-F2C6-3E45-A5CE-AEFA312B60A1}" dt="2023-02-12T12:00:42.455" v="8057" actId="20577"/>
          <ac:spMkLst>
            <pc:docMk/>
            <pc:sldMk cId="4131528814" sldId="297"/>
            <ac:spMk id="2" creationId="{1B8E5DFC-C525-D866-9EE3-5F1D2CF08350}"/>
          </ac:spMkLst>
        </pc:spChg>
        <pc:spChg chg="mod">
          <ac:chgData name="Ingo Bethke" userId="0ace9986-83c7-40d8-aadc-a8d8d7c841c6" providerId="ADAL" clId="{644D9300-F2C6-3E45-A5CE-AEFA312B60A1}" dt="2023-02-11T13:46:13.083" v="4139" actId="1038"/>
          <ac:spMkLst>
            <pc:docMk/>
            <pc:sldMk cId="4131528814" sldId="297"/>
            <ac:spMk id="7" creationId="{00000000-0000-0000-0000-000000000000}"/>
          </ac:spMkLst>
        </pc:spChg>
        <pc:picChg chg="mod">
          <ac:chgData name="Ingo Bethke" userId="0ace9986-83c7-40d8-aadc-a8d8d7c841c6" providerId="ADAL" clId="{644D9300-F2C6-3E45-A5CE-AEFA312B60A1}" dt="2023-02-11T13:45:16.295" v="4135" actId="14826"/>
          <ac:picMkLst>
            <pc:docMk/>
            <pc:sldMk cId="4131528814" sldId="297"/>
            <ac:picMk id="12" creationId="{B2623B4B-6E40-6CCB-F071-086CCC5D1079}"/>
          </ac:picMkLst>
        </pc:picChg>
        <pc:picChg chg="mod">
          <ac:chgData name="Ingo Bethke" userId="0ace9986-83c7-40d8-aadc-a8d8d7c841c6" providerId="ADAL" clId="{644D9300-F2C6-3E45-A5CE-AEFA312B60A1}" dt="2023-02-11T13:47:15.695" v="4144" actId="14826"/>
          <ac:picMkLst>
            <pc:docMk/>
            <pc:sldMk cId="4131528814" sldId="297"/>
            <ac:picMk id="17" creationId="{E5721856-F763-1C0E-8AD0-E854D5ADBA80}"/>
          </ac:picMkLst>
        </pc:picChg>
        <pc:picChg chg="mod">
          <ac:chgData name="Ingo Bethke" userId="0ace9986-83c7-40d8-aadc-a8d8d7c841c6" providerId="ADAL" clId="{644D9300-F2C6-3E45-A5CE-AEFA312B60A1}" dt="2023-02-11T13:51:17.151" v="4147" actId="14826"/>
          <ac:picMkLst>
            <pc:docMk/>
            <pc:sldMk cId="4131528814" sldId="297"/>
            <ac:picMk id="21" creationId="{CBF16F09-E6F3-4FEB-F2A7-97999B85BC01}"/>
          </ac:picMkLst>
        </pc:picChg>
        <pc:picChg chg="mod">
          <ac:chgData name="Ingo Bethke" userId="0ace9986-83c7-40d8-aadc-a8d8d7c841c6" providerId="ADAL" clId="{644D9300-F2C6-3E45-A5CE-AEFA312B60A1}" dt="2023-02-11T13:51:35.850" v="4148" actId="14826"/>
          <ac:picMkLst>
            <pc:docMk/>
            <pc:sldMk cId="4131528814" sldId="297"/>
            <ac:picMk id="22" creationId="{F3DDAD37-AE08-37C7-D8B6-0606EE660501}"/>
          </ac:picMkLst>
        </pc:picChg>
        <pc:picChg chg="mod">
          <ac:chgData name="Ingo Bethke" userId="0ace9986-83c7-40d8-aadc-a8d8d7c841c6" providerId="ADAL" clId="{644D9300-F2C6-3E45-A5CE-AEFA312B60A1}" dt="2023-02-11T13:53:39.369" v="4150" actId="14826"/>
          <ac:picMkLst>
            <pc:docMk/>
            <pc:sldMk cId="4131528814" sldId="297"/>
            <ac:picMk id="23" creationId="{200AB0C5-4461-0EE1-4782-625046BE1AAE}"/>
          </ac:picMkLst>
        </pc:picChg>
      </pc:sldChg>
      <pc:sldChg chg="addSp delSp modSp add mod">
        <pc:chgData name="Ingo Bethke" userId="0ace9986-83c7-40d8-aadc-a8d8d7c841c6" providerId="ADAL" clId="{644D9300-F2C6-3E45-A5CE-AEFA312B60A1}" dt="2023-02-12T10:30:03.748" v="6452"/>
        <pc:sldMkLst>
          <pc:docMk/>
          <pc:sldMk cId="4132644205" sldId="298"/>
        </pc:sldMkLst>
        <pc:spChg chg="mod">
          <ac:chgData name="Ingo Bethke" userId="0ace9986-83c7-40d8-aadc-a8d8d7c841c6" providerId="ADAL" clId="{644D9300-F2C6-3E45-A5CE-AEFA312B60A1}" dt="2023-02-12T10:30:03.748" v="6452"/>
          <ac:spMkLst>
            <pc:docMk/>
            <pc:sldMk cId="4132644205" sldId="298"/>
            <ac:spMk id="2" creationId="{00000000-0000-0000-0000-000000000000}"/>
          </ac:spMkLst>
        </pc:spChg>
        <pc:spChg chg="del">
          <ac:chgData name="Ingo Bethke" userId="0ace9986-83c7-40d8-aadc-a8d8d7c841c6" providerId="ADAL" clId="{644D9300-F2C6-3E45-A5CE-AEFA312B60A1}" dt="2023-02-11T23:18:15.080" v="4256" actId="478"/>
          <ac:spMkLst>
            <pc:docMk/>
            <pc:sldMk cId="4132644205" sldId="298"/>
            <ac:spMk id="3" creationId="{406ECBB9-A53C-B6BB-1F89-FD98F5F7AFEF}"/>
          </ac:spMkLst>
        </pc:spChg>
        <pc:spChg chg="del">
          <ac:chgData name="Ingo Bethke" userId="0ace9986-83c7-40d8-aadc-a8d8d7c841c6" providerId="ADAL" clId="{644D9300-F2C6-3E45-A5CE-AEFA312B60A1}" dt="2023-02-11T23:18:15.080" v="4256" actId="478"/>
          <ac:spMkLst>
            <pc:docMk/>
            <pc:sldMk cId="4132644205" sldId="298"/>
            <ac:spMk id="6" creationId="{00000000-0000-0000-0000-000000000000}"/>
          </ac:spMkLst>
        </pc:spChg>
        <pc:spChg chg="del">
          <ac:chgData name="Ingo Bethke" userId="0ace9986-83c7-40d8-aadc-a8d8d7c841c6" providerId="ADAL" clId="{644D9300-F2C6-3E45-A5CE-AEFA312B60A1}" dt="2023-02-11T23:18:15.080" v="4256" actId="478"/>
          <ac:spMkLst>
            <pc:docMk/>
            <pc:sldMk cId="4132644205" sldId="298"/>
            <ac:spMk id="9" creationId="{4241BC66-A971-C259-D14F-A0DE3E4EA690}"/>
          </ac:spMkLst>
        </pc:spChg>
        <pc:spChg chg="del">
          <ac:chgData name="Ingo Bethke" userId="0ace9986-83c7-40d8-aadc-a8d8d7c841c6" providerId="ADAL" clId="{644D9300-F2C6-3E45-A5CE-AEFA312B60A1}" dt="2023-02-11T23:18:15.080" v="4256" actId="478"/>
          <ac:spMkLst>
            <pc:docMk/>
            <pc:sldMk cId="4132644205" sldId="298"/>
            <ac:spMk id="10" creationId="{94724678-3C10-8B64-70EC-C173BCE5B69D}"/>
          </ac:spMkLst>
        </pc:spChg>
        <pc:spChg chg="del">
          <ac:chgData name="Ingo Bethke" userId="0ace9986-83c7-40d8-aadc-a8d8d7c841c6" providerId="ADAL" clId="{644D9300-F2C6-3E45-A5CE-AEFA312B60A1}" dt="2023-02-11T23:18:15.080" v="4256" actId="478"/>
          <ac:spMkLst>
            <pc:docMk/>
            <pc:sldMk cId="4132644205" sldId="298"/>
            <ac:spMk id="12" creationId="{813366CC-5AAD-6E62-D126-DD19919146CC}"/>
          </ac:spMkLst>
        </pc:spChg>
        <pc:spChg chg="del">
          <ac:chgData name="Ingo Bethke" userId="0ace9986-83c7-40d8-aadc-a8d8d7c841c6" providerId="ADAL" clId="{644D9300-F2C6-3E45-A5CE-AEFA312B60A1}" dt="2023-02-11T23:18:15.080" v="4256" actId="478"/>
          <ac:spMkLst>
            <pc:docMk/>
            <pc:sldMk cId="4132644205" sldId="298"/>
            <ac:spMk id="16" creationId="{F2B39B44-573D-68A7-2125-F5E91794127A}"/>
          </ac:spMkLst>
        </pc:spChg>
        <pc:spChg chg="del">
          <ac:chgData name="Ingo Bethke" userId="0ace9986-83c7-40d8-aadc-a8d8d7c841c6" providerId="ADAL" clId="{644D9300-F2C6-3E45-A5CE-AEFA312B60A1}" dt="2023-02-11T23:18:15.080" v="4256" actId="478"/>
          <ac:spMkLst>
            <pc:docMk/>
            <pc:sldMk cId="4132644205" sldId="298"/>
            <ac:spMk id="17" creationId="{D67ACB3E-DC6A-B2A8-203E-0D36E8A48131}"/>
          </ac:spMkLst>
        </pc:spChg>
        <pc:spChg chg="del">
          <ac:chgData name="Ingo Bethke" userId="0ace9986-83c7-40d8-aadc-a8d8d7c841c6" providerId="ADAL" clId="{644D9300-F2C6-3E45-A5CE-AEFA312B60A1}" dt="2023-02-11T23:18:15.080" v="4256" actId="478"/>
          <ac:spMkLst>
            <pc:docMk/>
            <pc:sldMk cId="4132644205" sldId="298"/>
            <ac:spMk id="18" creationId="{8D7074DC-7B3F-7626-1E48-3A6C567DA483}"/>
          </ac:spMkLst>
        </pc:spChg>
        <pc:spChg chg="del">
          <ac:chgData name="Ingo Bethke" userId="0ace9986-83c7-40d8-aadc-a8d8d7c841c6" providerId="ADAL" clId="{644D9300-F2C6-3E45-A5CE-AEFA312B60A1}" dt="2023-02-11T23:18:15.080" v="4256" actId="478"/>
          <ac:spMkLst>
            <pc:docMk/>
            <pc:sldMk cId="4132644205" sldId="298"/>
            <ac:spMk id="19" creationId="{5CA55812-7B49-37A4-9D69-F157A816A4EF}"/>
          </ac:spMkLst>
        </pc:spChg>
        <pc:spChg chg="del">
          <ac:chgData name="Ingo Bethke" userId="0ace9986-83c7-40d8-aadc-a8d8d7c841c6" providerId="ADAL" clId="{644D9300-F2C6-3E45-A5CE-AEFA312B60A1}" dt="2023-02-11T23:18:15.080" v="4256" actId="478"/>
          <ac:spMkLst>
            <pc:docMk/>
            <pc:sldMk cId="4132644205" sldId="298"/>
            <ac:spMk id="20" creationId="{48A3AFEB-9EAF-73A5-FA92-5A7FEAEE8AF2}"/>
          </ac:spMkLst>
        </pc:spChg>
        <pc:spChg chg="add del mod">
          <ac:chgData name="Ingo Bethke" userId="0ace9986-83c7-40d8-aadc-a8d8d7c841c6" providerId="ADAL" clId="{644D9300-F2C6-3E45-A5CE-AEFA312B60A1}" dt="2023-02-12T10:15:49.553" v="5046" actId="478"/>
          <ac:spMkLst>
            <pc:docMk/>
            <pc:sldMk cId="4132644205" sldId="298"/>
            <ac:spMk id="21" creationId="{951DFBC4-835E-0B55-3A64-4F0F3A3707A8}"/>
          </ac:spMkLst>
        </pc:spChg>
        <pc:spChg chg="del">
          <ac:chgData name="Ingo Bethke" userId="0ace9986-83c7-40d8-aadc-a8d8d7c841c6" providerId="ADAL" clId="{644D9300-F2C6-3E45-A5CE-AEFA312B60A1}" dt="2023-02-11T23:18:15.080" v="4256" actId="478"/>
          <ac:spMkLst>
            <pc:docMk/>
            <pc:sldMk cId="4132644205" sldId="298"/>
            <ac:spMk id="23" creationId="{D3B62D83-8E70-BB43-5859-62FC7CD72CB9}"/>
          </ac:spMkLst>
        </pc:spChg>
        <pc:spChg chg="add mod">
          <ac:chgData name="Ingo Bethke" userId="0ace9986-83c7-40d8-aadc-a8d8d7c841c6" providerId="ADAL" clId="{644D9300-F2C6-3E45-A5CE-AEFA312B60A1}" dt="2023-02-12T10:29:11.131" v="6429" actId="1037"/>
          <ac:spMkLst>
            <pc:docMk/>
            <pc:sldMk cId="4132644205" sldId="298"/>
            <ac:spMk id="41" creationId="{F017EBF5-8FD5-251D-07A6-2A8988A7BF3C}"/>
          </ac:spMkLst>
        </pc:spChg>
        <pc:spChg chg="add mod">
          <ac:chgData name="Ingo Bethke" userId="0ace9986-83c7-40d8-aadc-a8d8d7c841c6" providerId="ADAL" clId="{644D9300-F2C6-3E45-A5CE-AEFA312B60A1}" dt="2023-02-12T10:29:24.124" v="6450" actId="1037"/>
          <ac:spMkLst>
            <pc:docMk/>
            <pc:sldMk cId="4132644205" sldId="298"/>
            <ac:spMk id="42" creationId="{5565C00E-8903-5A74-474C-2CBDD07C741B}"/>
          </ac:spMkLst>
        </pc:spChg>
        <pc:spChg chg="add mod">
          <ac:chgData name="Ingo Bethke" userId="0ace9986-83c7-40d8-aadc-a8d8d7c841c6" providerId="ADAL" clId="{644D9300-F2C6-3E45-A5CE-AEFA312B60A1}" dt="2023-02-12T10:29:11.131" v="6429" actId="1037"/>
          <ac:spMkLst>
            <pc:docMk/>
            <pc:sldMk cId="4132644205" sldId="298"/>
            <ac:spMk id="43" creationId="{7524583E-D10B-D36C-1A89-2328A23BCC9F}"/>
          </ac:spMkLst>
        </pc:spChg>
        <pc:spChg chg="add mod">
          <ac:chgData name="Ingo Bethke" userId="0ace9986-83c7-40d8-aadc-a8d8d7c841c6" providerId="ADAL" clId="{644D9300-F2C6-3E45-A5CE-AEFA312B60A1}" dt="2023-02-12T10:29:24.124" v="6450" actId="1037"/>
          <ac:spMkLst>
            <pc:docMk/>
            <pc:sldMk cId="4132644205" sldId="298"/>
            <ac:spMk id="44" creationId="{EB5CBC69-C6A0-DB78-3BCF-2AFD0D5B2DAA}"/>
          </ac:spMkLst>
        </pc:spChg>
        <pc:spChg chg="add mod">
          <ac:chgData name="Ingo Bethke" userId="0ace9986-83c7-40d8-aadc-a8d8d7c841c6" providerId="ADAL" clId="{644D9300-F2C6-3E45-A5CE-AEFA312B60A1}" dt="2023-02-12T10:29:11.131" v="6429" actId="1037"/>
          <ac:spMkLst>
            <pc:docMk/>
            <pc:sldMk cId="4132644205" sldId="298"/>
            <ac:spMk id="45" creationId="{25D2F9B1-D67C-7C04-F46B-4010B467CC16}"/>
          </ac:spMkLst>
        </pc:spChg>
        <pc:spChg chg="add mod">
          <ac:chgData name="Ingo Bethke" userId="0ace9986-83c7-40d8-aadc-a8d8d7c841c6" providerId="ADAL" clId="{644D9300-F2C6-3E45-A5CE-AEFA312B60A1}" dt="2023-02-12T10:29:24.124" v="6450" actId="1037"/>
          <ac:spMkLst>
            <pc:docMk/>
            <pc:sldMk cId="4132644205" sldId="298"/>
            <ac:spMk id="46" creationId="{E76D3184-A130-FB9B-36BF-0CBC79B0011C}"/>
          </ac:spMkLst>
        </pc:spChg>
        <pc:spChg chg="add mod">
          <ac:chgData name="Ingo Bethke" userId="0ace9986-83c7-40d8-aadc-a8d8d7c841c6" providerId="ADAL" clId="{644D9300-F2C6-3E45-A5CE-AEFA312B60A1}" dt="2023-02-12T10:29:11.131" v="6429" actId="1037"/>
          <ac:spMkLst>
            <pc:docMk/>
            <pc:sldMk cId="4132644205" sldId="298"/>
            <ac:spMk id="47" creationId="{36A4770E-B6B5-68C6-F2CA-75A22A4DDFC6}"/>
          </ac:spMkLst>
        </pc:spChg>
        <pc:spChg chg="add mod">
          <ac:chgData name="Ingo Bethke" userId="0ace9986-83c7-40d8-aadc-a8d8d7c841c6" providerId="ADAL" clId="{644D9300-F2C6-3E45-A5CE-AEFA312B60A1}" dt="2023-02-12T10:29:24.124" v="6450" actId="1037"/>
          <ac:spMkLst>
            <pc:docMk/>
            <pc:sldMk cId="4132644205" sldId="298"/>
            <ac:spMk id="48" creationId="{6C8EE439-94D5-20CC-BCA6-0CD1575C241E}"/>
          </ac:spMkLst>
        </pc:spChg>
        <pc:picChg chg="del">
          <ac:chgData name="Ingo Bethke" userId="0ace9986-83c7-40d8-aadc-a8d8d7c841c6" providerId="ADAL" clId="{644D9300-F2C6-3E45-A5CE-AEFA312B60A1}" dt="2023-02-11T23:18:15.080" v="4256" actId="478"/>
          <ac:picMkLst>
            <pc:docMk/>
            <pc:sldMk cId="4132644205" sldId="298"/>
            <ac:picMk id="4" creationId="{BBF8734C-8296-4B2B-66F6-8162974C80A6}"/>
          </ac:picMkLst>
        </pc:picChg>
        <pc:picChg chg="del">
          <ac:chgData name="Ingo Bethke" userId="0ace9986-83c7-40d8-aadc-a8d8d7c841c6" providerId="ADAL" clId="{644D9300-F2C6-3E45-A5CE-AEFA312B60A1}" dt="2023-02-11T23:18:15.080" v="4256" actId="478"/>
          <ac:picMkLst>
            <pc:docMk/>
            <pc:sldMk cId="4132644205" sldId="298"/>
            <ac:picMk id="5" creationId="{DAAEA670-9924-7FFB-3A56-795F7A30F6A9}"/>
          </ac:picMkLst>
        </pc:picChg>
        <pc:picChg chg="del">
          <ac:chgData name="Ingo Bethke" userId="0ace9986-83c7-40d8-aadc-a8d8d7c841c6" providerId="ADAL" clId="{644D9300-F2C6-3E45-A5CE-AEFA312B60A1}" dt="2023-02-11T23:18:15.080" v="4256" actId="478"/>
          <ac:picMkLst>
            <pc:docMk/>
            <pc:sldMk cId="4132644205" sldId="298"/>
            <ac:picMk id="7" creationId="{66AF29A3-7BBF-B9D1-D41E-A2D7BF8D2D08}"/>
          </ac:picMkLst>
        </pc:picChg>
        <pc:picChg chg="del">
          <ac:chgData name="Ingo Bethke" userId="0ace9986-83c7-40d8-aadc-a8d8d7c841c6" providerId="ADAL" clId="{644D9300-F2C6-3E45-A5CE-AEFA312B60A1}" dt="2023-02-11T23:18:15.080" v="4256" actId="478"/>
          <ac:picMkLst>
            <pc:docMk/>
            <pc:sldMk cId="4132644205" sldId="298"/>
            <ac:picMk id="8" creationId="{7A7297A2-FA1A-69E4-D104-024A8FDD34E4}"/>
          </ac:picMkLst>
        </pc:picChg>
        <pc:picChg chg="del">
          <ac:chgData name="Ingo Bethke" userId="0ace9986-83c7-40d8-aadc-a8d8d7c841c6" providerId="ADAL" clId="{644D9300-F2C6-3E45-A5CE-AEFA312B60A1}" dt="2023-02-11T23:18:15.080" v="4256" actId="478"/>
          <ac:picMkLst>
            <pc:docMk/>
            <pc:sldMk cId="4132644205" sldId="298"/>
            <ac:picMk id="11" creationId="{9922FD65-2AF9-6AEB-F3C6-88FDB4109F9A}"/>
          </ac:picMkLst>
        </pc:picChg>
        <pc:picChg chg="del">
          <ac:chgData name="Ingo Bethke" userId="0ace9986-83c7-40d8-aadc-a8d8d7c841c6" providerId="ADAL" clId="{644D9300-F2C6-3E45-A5CE-AEFA312B60A1}" dt="2023-02-11T23:18:15.080" v="4256" actId="478"/>
          <ac:picMkLst>
            <pc:docMk/>
            <pc:sldMk cId="4132644205" sldId="298"/>
            <ac:picMk id="13" creationId="{33957E3D-3145-8B2A-F647-8603C829BDC3}"/>
          </ac:picMkLst>
        </pc:picChg>
        <pc:picChg chg="del">
          <ac:chgData name="Ingo Bethke" userId="0ace9986-83c7-40d8-aadc-a8d8d7c841c6" providerId="ADAL" clId="{644D9300-F2C6-3E45-A5CE-AEFA312B60A1}" dt="2023-02-11T23:18:15.080" v="4256" actId="478"/>
          <ac:picMkLst>
            <pc:docMk/>
            <pc:sldMk cId="4132644205" sldId="298"/>
            <ac:picMk id="14" creationId="{D394484C-9262-C6EC-D512-DD6D63A95671}"/>
          </ac:picMkLst>
        </pc:picChg>
        <pc:picChg chg="del">
          <ac:chgData name="Ingo Bethke" userId="0ace9986-83c7-40d8-aadc-a8d8d7c841c6" providerId="ADAL" clId="{644D9300-F2C6-3E45-A5CE-AEFA312B60A1}" dt="2023-02-11T23:18:15.080" v="4256" actId="478"/>
          <ac:picMkLst>
            <pc:docMk/>
            <pc:sldMk cId="4132644205" sldId="298"/>
            <ac:picMk id="15" creationId="{510034F0-C0B1-7FAB-CF1F-D17E1307C9C2}"/>
          </ac:picMkLst>
        </pc:picChg>
        <pc:picChg chg="del">
          <ac:chgData name="Ingo Bethke" userId="0ace9986-83c7-40d8-aadc-a8d8d7c841c6" providerId="ADAL" clId="{644D9300-F2C6-3E45-A5CE-AEFA312B60A1}" dt="2023-02-11T23:18:15.080" v="4256" actId="478"/>
          <ac:picMkLst>
            <pc:docMk/>
            <pc:sldMk cId="4132644205" sldId="298"/>
            <ac:picMk id="22" creationId="{FD597CEB-DC9C-3899-7F73-226A95BD7B1E}"/>
          </ac:picMkLst>
        </pc:picChg>
        <pc:picChg chg="add mod">
          <ac:chgData name="Ingo Bethke" userId="0ace9986-83c7-40d8-aadc-a8d8d7c841c6" providerId="ADAL" clId="{644D9300-F2C6-3E45-A5CE-AEFA312B60A1}" dt="2023-02-12T10:29:11.131" v="6429" actId="1037"/>
          <ac:picMkLst>
            <pc:docMk/>
            <pc:sldMk cId="4132644205" sldId="298"/>
            <ac:picMk id="25" creationId="{A8F41BCD-C303-2297-4924-E0D7CB68CBDD}"/>
          </ac:picMkLst>
        </pc:picChg>
        <pc:picChg chg="add del mod">
          <ac:chgData name="Ingo Bethke" userId="0ace9986-83c7-40d8-aadc-a8d8d7c841c6" providerId="ADAL" clId="{644D9300-F2C6-3E45-A5CE-AEFA312B60A1}" dt="2023-02-12T10:16:36.701" v="5138" actId="478"/>
          <ac:picMkLst>
            <pc:docMk/>
            <pc:sldMk cId="4132644205" sldId="298"/>
            <ac:picMk id="26" creationId="{CF3C64E9-2B55-85E4-2DCE-ED4BFFAB4ACF}"/>
          </ac:picMkLst>
        </pc:picChg>
        <pc:picChg chg="add del mod">
          <ac:chgData name="Ingo Bethke" userId="0ace9986-83c7-40d8-aadc-a8d8d7c841c6" providerId="ADAL" clId="{644D9300-F2C6-3E45-A5CE-AEFA312B60A1}" dt="2023-02-12T10:16:35.323" v="5137" actId="478"/>
          <ac:picMkLst>
            <pc:docMk/>
            <pc:sldMk cId="4132644205" sldId="298"/>
            <ac:picMk id="27" creationId="{12604CF3-458D-660D-A6A7-F8E17F840B88}"/>
          </ac:picMkLst>
        </pc:picChg>
        <pc:picChg chg="add del mod">
          <ac:chgData name="Ingo Bethke" userId="0ace9986-83c7-40d8-aadc-a8d8d7c841c6" providerId="ADAL" clId="{644D9300-F2C6-3E45-A5CE-AEFA312B60A1}" dt="2023-02-12T10:17:15.522" v="5231" actId="478"/>
          <ac:picMkLst>
            <pc:docMk/>
            <pc:sldMk cId="4132644205" sldId="298"/>
            <ac:picMk id="28" creationId="{2FBF6AF2-8CA0-4DB2-F005-4E16A1A3042A}"/>
          </ac:picMkLst>
        </pc:picChg>
        <pc:picChg chg="add del mod">
          <ac:chgData name="Ingo Bethke" userId="0ace9986-83c7-40d8-aadc-a8d8d7c841c6" providerId="ADAL" clId="{644D9300-F2C6-3E45-A5CE-AEFA312B60A1}" dt="2023-02-12T10:17:14.491" v="5230" actId="478"/>
          <ac:picMkLst>
            <pc:docMk/>
            <pc:sldMk cId="4132644205" sldId="298"/>
            <ac:picMk id="29" creationId="{32ED3FCD-EE9E-809F-4387-77472EF86F43}"/>
          </ac:picMkLst>
        </pc:picChg>
        <pc:picChg chg="add del mod">
          <ac:chgData name="Ingo Bethke" userId="0ace9986-83c7-40d8-aadc-a8d8d7c841c6" providerId="ADAL" clId="{644D9300-F2C6-3E45-A5CE-AEFA312B60A1}" dt="2023-02-12T10:18:44.731" v="5457" actId="478"/>
          <ac:picMkLst>
            <pc:docMk/>
            <pc:sldMk cId="4132644205" sldId="298"/>
            <ac:picMk id="30" creationId="{373D6C33-1921-4985-99E3-4DCBD4BE6461}"/>
          </ac:picMkLst>
        </pc:picChg>
        <pc:picChg chg="add del mod">
          <ac:chgData name="Ingo Bethke" userId="0ace9986-83c7-40d8-aadc-a8d8d7c841c6" providerId="ADAL" clId="{644D9300-F2C6-3E45-A5CE-AEFA312B60A1}" dt="2023-02-12T10:18:43.831" v="5456" actId="478"/>
          <ac:picMkLst>
            <pc:docMk/>
            <pc:sldMk cId="4132644205" sldId="298"/>
            <ac:picMk id="31" creationId="{11836E39-012C-FE38-4BD3-035CDA170055}"/>
          </ac:picMkLst>
        </pc:picChg>
        <pc:picChg chg="add del mod">
          <ac:chgData name="Ingo Bethke" userId="0ace9986-83c7-40d8-aadc-a8d8d7c841c6" providerId="ADAL" clId="{644D9300-F2C6-3E45-A5CE-AEFA312B60A1}" dt="2023-02-12T10:18:41.438" v="5455" actId="478"/>
          <ac:picMkLst>
            <pc:docMk/>
            <pc:sldMk cId="4132644205" sldId="298"/>
            <ac:picMk id="32" creationId="{81BD310E-3223-016D-3BB2-7C51D40E239F}"/>
          </ac:picMkLst>
        </pc:picChg>
        <pc:picChg chg="add del mod">
          <ac:chgData name="Ingo Bethke" userId="0ace9986-83c7-40d8-aadc-a8d8d7c841c6" providerId="ADAL" clId="{644D9300-F2C6-3E45-A5CE-AEFA312B60A1}" dt="2023-02-12T10:18:41.438" v="5455" actId="478"/>
          <ac:picMkLst>
            <pc:docMk/>
            <pc:sldMk cId="4132644205" sldId="298"/>
            <ac:picMk id="33" creationId="{8544B878-FF3B-5901-48FE-05CC5D6D15DE}"/>
          </ac:picMkLst>
        </pc:picChg>
        <pc:picChg chg="add del mod">
          <ac:chgData name="Ingo Bethke" userId="0ace9986-83c7-40d8-aadc-a8d8d7c841c6" providerId="ADAL" clId="{644D9300-F2C6-3E45-A5CE-AEFA312B60A1}" dt="2023-02-12T10:18:41.438" v="5455" actId="478"/>
          <ac:picMkLst>
            <pc:docMk/>
            <pc:sldMk cId="4132644205" sldId="298"/>
            <ac:picMk id="34" creationId="{9135C2AA-9A86-0A10-3541-765F6EC211C0}"/>
          </ac:picMkLst>
        </pc:picChg>
        <pc:picChg chg="add mod">
          <ac:chgData name="Ingo Bethke" userId="0ace9986-83c7-40d8-aadc-a8d8d7c841c6" providerId="ADAL" clId="{644D9300-F2C6-3E45-A5CE-AEFA312B60A1}" dt="2023-02-12T10:29:11.131" v="6429" actId="1037"/>
          <ac:picMkLst>
            <pc:docMk/>
            <pc:sldMk cId="4132644205" sldId="298"/>
            <ac:picMk id="35" creationId="{C8A4D37D-5F30-24C7-EFFA-14BB0FF6B554}"/>
          </ac:picMkLst>
        </pc:picChg>
        <pc:picChg chg="add mod">
          <ac:chgData name="Ingo Bethke" userId="0ace9986-83c7-40d8-aadc-a8d8d7c841c6" providerId="ADAL" clId="{644D9300-F2C6-3E45-A5CE-AEFA312B60A1}" dt="2023-02-12T10:29:11.131" v="6429" actId="1037"/>
          <ac:picMkLst>
            <pc:docMk/>
            <pc:sldMk cId="4132644205" sldId="298"/>
            <ac:picMk id="36" creationId="{2B7E5307-30F1-8545-679C-BF9D09B65EE9}"/>
          </ac:picMkLst>
        </pc:picChg>
        <pc:picChg chg="add mod">
          <ac:chgData name="Ingo Bethke" userId="0ace9986-83c7-40d8-aadc-a8d8d7c841c6" providerId="ADAL" clId="{644D9300-F2C6-3E45-A5CE-AEFA312B60A1}" dt="2023-02-12T10:29:24.124" v="6450" actId="1037"/>
          <ac:picMkLst>
            <pc:docMk/>
            <pc:sldMk cId="4132644205" sldId="298"/>
            <ac:picMk id="37" creationId="{27EF032C-2390-CB29-B54D-693C87F5E8CD}"/>
          </ac:picMkLst>
        </pc:picChg>
        <pc:picChg chg="add mod">
          <ac:chgData name="Ingo Bethke" userId="0ace9986-83c7-40d8-aadc-a8d8d7c841c6" providerId="ADAL" clId="{644D9300-F2C6-3E45-A5CE-AEFA312B60A1}" dt="2023-02-12T10:29:24.124" v="6450" actId="1037"/>
          <ac:picMkLst>
            <pc:docMk/>
            <pc:sldMk cId="4132644205" sldId="298"/>
            <ac:picMk id="38" creationId="{E6A39291-7F1C-5049-2388-B936DE08D719}"/>
          </ac:picMkLst>
        </pc:picChg>
        <pc:picChg chg="add mod">
          <ac:chgData name="Ingo Bethke" userId="0ace9986-83c7-40d8-aadc-a8d8d7c841c6" providerId="ADAL" clId="{644D9300-F2C6-3E45-A5CE-AEFA312B60A1}" dt="2023-02-12T10:29:24.124" v="6450" actId="1037"/>
          <ac:picMkLst>
            <pc:docMk/>
            <pc:sldMk cId="4132644205" sldId="298"/>
            <ac:picMk id="39" creationId="{FEEBFF88-797D-16C5-29EE-C5A28AA0476B}"/>
          </ac:picMkLst>
        </pc:picChg>
        <pc:picChg chg="add mod">
          <ac:chgData name="Ingo Bethke" userId="0ace9986-83c7-40d8-aadc-a8d8d7c841c6" providerId="ADAL" clId="{644D9300-F2C6-3E45-A5CE-AEFA312B60A1}" dt="2023-02-12T10:26:25.226" v="6367" actId="1037"/>
          <ac:picMkLst>
            <pc:docMk/>
            <pc:sldMk cId="4132644205" sldId="298"/>
            <ac:picMk id="40" creationId="{B7EEAA62-62F3-F875-9581-1B8EBA2113BA}"/>
          </ac:picMkLst>
        </pc:picChg>
      </pc:sldChg>
      <pc:sldChg chg="add del">
        <pc:chgData name="Ingo Bethke" userId="0ace9986-83c7-40d8-aadc-a8d8d7c841c6" providerId="ADAL" clId="{644D9300-F2C6-3E45-A5CE-AEFA312B60A1}" dt="2023-02-12T11:59:02.287" v="8037" actId="2696"/>
        <pc:sldMkLst>
          <pc:docMk/>
          <pc:sldMk cId="3043182733" sldId="299"/>
        </pc:sldMkLst>
      </pc:sldChg>
      <pc:sldChg chg="addSp delSp modSp add mod">
        <pc:chgData name="Ingo Bethke" userId="0ace9986-83c7-40d8-aadc-a8d8d7c841c6" providerId="ADAL" clId="{644D9300-F2C6-3E45-A5CE-AEFA312B60A1}" dt="2023-02-13T02:13:38.774" v="9370" actId="20577"/>
        <pc:sldMkLst>
          <pc:docMk/>
          <pc:sldMk cId="1191013349" sldId="300"/>
        </pc:sldMkLst>
        <pc:spChg chg="add del mod">
          <ac:chgData name="Ingo Bethke" userId="0ace9986-83c7-40d8-aadc-a8d8d7c841c6" providerId="ADAL" clId="{644D9300-F2C6-3E45-A5CE-AEFA312B60A1}" dt="2023-02-12T13:32:08.129" v="8226" actId="478"/>
          <ac:spMkLst>
            <pc:docMk/>
            <pc:sldMk cId="1191013349" sldId="300"/>
            <ac:spMk id="2" creationId="{DE965A50-D5A1-E662-A880-7740B9EE4D38}"/>
          </ac:spMkLst>
        </pc:spChg>
        <pc:spChg chg="mod">
          <ac:chgData name="Ingo Bethke" userId="0ace9986-83c7-40d8-aadc-a8d8d7c841c6" providerId="ADAL" clId="{644D9300-F2C6-3E45-A5CE-AEFA312B60A1}" dt="2023-02-13T02:13:38.774" v="9370" actId="20577"/>
          <ac:spMkLst>
            <pc:docMk/>
            <pc:sldMk cId="1191013349" sldId="300"/>
            <ac:spMk id="3" creationId="{ABDF1105-EAF6-451B-5AE8-32DA69F9C5BF}"/>
          </ac:spMkLst>
        </pc:spChg>
        <pc:spChg chg="add del mod">
          <ac:chgData name="Ingo Bethke" userId="0ace9986-83c7-40d8-aadc-a8d8d7c841c6" providerId="ADAL" clId="{644D9300-F2C6-3E45-A5CE-AEFA312B60A1}" dt="2023-02-12T11:56:55.494" v="8001"/>
          <ac:spMkLst>
            <pc:docMk/>
            <pc:sldMk cId="1191013349" sldId="300"/>
            <ac:spMk id="7" creationId="{176690EB-1159-611B-9039-1FD70E5895E0}"/>
          </ac:spMkLst>
        </pc:spChg>
        <pc:spChg chg="add mod">
          <ac:chgData name="Ingo Bethke" userId="0ace9986-83c7-40d8-aadc-a8d8d7c841c6" providerId="ADAL" clId="{644D9300-F2C6-3E45-A5CE-AEFA312B60A1}" dt="2023-02-12T11:57:06.039" v="8002"/>
          <ac:spMkLst>
            <pc:docMk/>
            <pc:sldMk cId="1191013349" sldId="300"/>
            <ac:spMk id="10" creationId="{DF6D50D2-F87B-D5C2-EA1D-CD17D8DA1333}"/>
          </ac:spMkLst>
        </pc:spChg>
        <pc:spChg chg="add del mod">
          <ac:chgData name="Ingo Bethke" userId="0ace9986-83c7-40d8-aadc-a8d8d7c841c6" providerId="ADAL" clId="{644D9300-F2C6-3E45-A5CE-AEFA312B60A1}" dt="2023-02-13T02:08:42.967" v="9213" actId="478"/>
          <ac:spMkLst>
            <pc:docMk/>
            <pc:sldMk cId="1191013349" sldId="300"/>
            <ac:spMk id="11" creationId="{38D2E50A-AF8E-1FED-BBA6-328408E851F4}"/>
          </ac:spMkLst>
        </pc:spChg>
        <pc:spChg chg="add mod">
          <ac:chgData name="Ingo Bethke" userId="0ace9986-83c7-40d8-aadc-a8d8d7c841c6" providerId="ADAL" clId="{644D9300-F2C6-3E45-A5CE-AEFA312B60A1}" dt="2023-02-13T00:37:42.654" v="9066"/>
          <ac:spMkLst>
            <pc:docMk/>
            <pc:sldMk cId="1191013349" sldId="300"/>
            <ac:spMk id="12" creationId="{A48DE92C-E67C-0A53-0F56-F884CF5DBA61}"/>
          </ac:spMkLst>
        </pc:spChg>
        <pc:spChg chg="add mod">
          <ac:chgData name="Ingo Bethke" userId="0ace9986-83c7-40d8-aadc-a8d8d7c841c6" providerId="ADAL" clId="{644D9300-F2C6-3E45-A5CE-AEFA312B60A1}" dt="2023-02-13T02:11:12.706" v="9275" actId="27636"/>
          <ac:spMkLst>
            <pc:docMk/>
            <pc:sldMk cId="1191013349" sldId="300"/>
            <ac:spMk id="13" creationId="{927B9243-DAE3-EA9F-B415-D0622649E3CE}"/>
          </ac:spMkLst>
        </pc:spChg>
        <pc:picChg chg="add del mod">
          <ac:chgData name="Ingo Bethke" userId="0ace9986-83c7-40d8-aadc-a8d8d7c841c6" providerId="ADAL" clId="{644D9300-F2C6-3E45-A5CE-AEFA312B60A1}" dt="2023-02-12T11:56:55.494" v="8001"/>
          <ac:picMkLst>
            <pc:docMk/>
            <pc:sldMk cId="1191013349" sldId="300"/>
            <ac:picMk id="5" creationId="{8CB6F808-118E-B839-0818-C10F35DC4038}"/>
          </ac:picMkLst>
        </pc:picChg>
        <pc:picChg chg="add del mod">
          <ac:chgData name="Ingo Bethke" userId="0ace9986-83c7-40d8-aadc-a8d8d7c841c6" providerId="ADAL" clId="{644D9300-F2C6-3E45-A5CE-AEFA312B60A1}" dt="2023-02-12T11:56:55.494" v="8001"/>
          <ac:picMkLst>
            <pc:docMk/>
            <pc:sldMk cId="1191013349" sldId="300"/>
            <ac:picMk id="6" creationId="{1D3FFDFF-512D-FD9A-98DF-5DC8506ADD94}"/>
          </ac:picMkLst>
        </pc:picChg>
        <pc:picChg chg="add mod">
          <ac:chgData name="Ingo Bethke" userId="0ace9986-83c7-40d8-aadc-a8d8d7c841c6" providerId="ADAL" clId="{644D9300-F2C6-3E45-A5CE-AEFA312B60A1}" dt="2023-02-12T11:57:06.039" v="8002"/>
          <ac:picMkLst>
            <pc:docMk/>
            <pc:sldMk cId="1191013349" sldId="300"/>
            <ac:picMk id="8" creationId="{E5E702F7-C5F4-7D04-594F-7D7BAE0F633A}"/>
          </ac:picMkLst>
        </pc:picChg>
        <pc:picChg chg="add mod">
          <ac:chgData name="Ingo Bethke" userId="0ace9986-83c7-40d8-aadc-a8d8d7c841c6" providerId="ADAL" clId="{644D9300-F2C6-3E45-A5CE-AEFA312B60A1}" dt="2023-02-12T11:57:06.039" v="8002"/>
          <ac:picMkLst>
            <pc:docMk/>
            <pc:sldMk cId="1191013349" sldId="300"/>
            <ac:picMk id="9" creationId="{64888F5D-B21D-6F27-4962-1AF60F94059D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12.02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039235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2455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31843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35174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6016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4050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365875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980987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16068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02900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022408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27132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rgbClr val="CED0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4.png"/><Relationship Id="rId7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4.png"/><Relationship Id="rId7" Type="http://schemas.openxmlformats.org/officeDocument/2006/relationships/image" Target="../media/image33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4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9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4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127627"/>
            <a:ext cx="10363200" cy="1538883"/>
          </a:xfrm>
        </p:spPr>
        <p:txBody>
          <a:bodyPr/>
          <a:lstStyle/>
          <a:p>
            <a:br>
              <a:rPr lang="nb-NO" sz="1000" dirty="0"/>
            </a:br>
            <a:r>
              <a:rPr lang="nb-NO" dirty="0" err="1"/>
              <a:t>Atmospheric</a:t>
            </a:r>
            <a:r>
              <a:rPr lang="nb-NO" dirty="0"/>
              <a:t> </a:t>
            </a:r>
            <a:r>
              <a:rPr lang="nb-NO" dirty="0" err="1"/>
              <a:t>circulation</a:t>
            </a:r>
            <a:r>
              <a:rPr lang="nb-NO" dirty="0"/>
              <a:t> </a:t>
            </a:r>
            <a:r>
              <a:rPr lang="nb-NO" dirty="0" err="1"/>
              <a:t>key</a:t>
            </a:r>
            <a:r>
              <a:rPr lang="nb-NO" dirty="0"/>
              <a:t> driver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observed</a:t>
            </a:r>
            <a:r>
              <a:rPr lang="nb-NO" dirty="0"/>
              <a:t> regional </a:t>
            </a:r>
            <a:r>
              <a:rPr lang="nb-NO" dirty="0" err="1"/>
              <a:t>sea</a:t>
            </a:r>
            <a:r>
              <a:rPr lang="nb-NO" dirty="0"/>
              <a:t> </a:t>
            </a:r>
            <a:r>
              <a:rPr lang="nb-NO" dirty="0" err="1"/>
              <a:t>level</a:t>
            </a:r>
            <a:r>
              <a:rPr lang="nb-NO" dirty="0"/>
              <a:t> </a:t>
            </a:r>
            <a:r>
              <a:rPr lang="nb-NO" dirty="0" err="1"/>
              <a:t>change</a:t>
            </a:r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943467" cy="192360"/>
          </a:xfrm>
        </p:spPr>
        <p:txBody>
          <a:bodyPr/>
          <a:lstStyle/>
          <a:p>
            <a:r>
              <a:rPr lang="nb-NO" dirty="0"/>
              <a:t>ICCP seminar 14 </a:t>
            </a:r>
            <a:r>
              <a:rPr lang="nb-NO" dirty="0" err="1"/>
              <a:t>feb</a:t>
            </a:r>
            <a:r>
              <a:rPr lang="nb-NO" dirty="0"/>
              <a:t> 2023, IBS Center for </a:t>
            </a:r>
            <a:r>
              <a:rPr lang="nb-NO" dirty="0" err="1"/>
              <a:t>climate</a:t>
            </a:r>
            <a:r>
              <a:rPr lang="nb-NO" dirty="0"/>
              <a:t> </a:t>
            </a:r>
            <a:r>
              <a:rPr lang="nb-NO" dirty="0" err="1"/>
              <a:t>physics</a:t>
            </a:r>
            <a:r>
              <a:rPr lang="nb-NO" dirty="0"/>
              <a:t>, Busa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F3806D-4195-84CB-40CB-838F5CA59E05}"/>
              </a:ext>
            </a:extLst>
          </p:cNvPr>
          <p:cNvSpPr txBox="1"/>
          <p:nvPr/>
        </p:nvSpPr>
        <p:spPr>
          <a:xfrm>
            <a:off x="5363110" y="99659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NO" dirty="0"/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8AD76E70-1D07-96B7-91CD-9A0D5E23A277}"/>
              </a:ext>
            </a:extLst>
          </p:cNvPr>
          <p:cNvSpPr txBox="1">
            <a:spLocks/>
          </p:cNvSpPr>
          <p:nvPr/>
        </p:nvSpPr>
        <p:spPr>
          <a:xfrm>
            <a:off x="694144" y="4128697"/>
            <a:ext cx="10389147" cy="83715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None/>
              <a:defRPr sz="1250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600" b="1" dirty="0"/>
              <a:t>Ingo </a:t>
            </a:r>
            <a:r>
              <a:rPr lang="nb-NO" sz="1600" b="1" dirty="0" err="1"/>
              <a:t>Bethke</a:t>
            </a:r>
            <a:r>
              <a:rPr lang="nb-NO" sz="1600" b="1" dirty="0"/>
              <a:t>, </a:t>
            </a:r>
            <a:r>
              <a:rPr lang="nb-NO" sz="1600" dirty="0" err="1"/>
              <a:t>tarkan</a:t>
            </a:r>
            <a:r>
              <a:rPr lang="nb-NO" sz="1600" dirty="0"/>
              <a:t> </a:t>
            </a:r>
            <a:r>
              <a:rPr lang="nb-NO" sz="1600" dirty="0" err="1"/>
              <a:t>Bilge</a:t>
            </a:r>
            <a:r>
              <a:rPr lang="nb-NO" sz="1600" dirty="0"/>
              <a:t>, Ping-gin </a:t>
            </a:r>
            <a:r>
              <a:rPr lang="nb-NO" sz="1600" dirty="0" err="1"/>
              <a:t>Chiu</a:t>
            </a:r>
            <a:r>
              <a:rPr lang="nb-NO" sz="1600" dirty="0"/>
              <a:t>, Lilian Garcia, Noel </a:t>
            </a:r>
            <a:r>
              <a:rPr lang="nb-NO" sz="1600" dirty="0" err="1"/>
              <a:t>Keenlyside</a:t>
            </a:r>
            <a:r>
              <a:rPr lang="nb-NO" sz="1600" dirty="0"/>
              <a:t>, Mao-Lin </a:t>
            </a:r>
            <a:r>
              <a:rPr lang="nb-NO" sz="1600" dirty="0" err="1"/>
              <a:t>Shen</a:t>
            </a:r>
            <a:r>
              <a:rPr lang="nb-NO" sz="1600" dirty="0"/>
              <a:t> (UIB)</a:t>
            </a:r>
          </a:p>
          <a:p>
            <a:r>
              <a:rPr lang="nb-NO" sz="1600" dirty="0" err="1"/>
              <a:t>antonio</a:t>
            </a:r>
            <a:r>
              <a:rPr lang="nb-NO" sz="1600" dirty="0"/>
              <a:t> </a:t>
            </a:r>
            <a:r>
              <a:rPr lang="nb-NO" sz="1600" dirty="0" err="1"/>
              <a:t>bonaduce</a:t>
            </a:r>
            <a:r>
              <a:rPr lang="nb-NO" sz="1600" dirty="0"/>
              <a:t>, </a:t>
            </a:r>
            <a:r>
              <a:rPr lang="nb-NO" sz="1600" dirty="0" err="1"/>
              <a:t>Fran</a:t>
            </a:r>
            <a:r>
              <a:rPr lang="en-GB" sz="1600" dirty="0" err="1"/>
              <a:t>ç</a:t>
            </a:r>
            <a:r>
              <a:rPr lang="nb-NO" sz="1600" dirty="0" err="1"/>
              <a:t>ois</a:t>
            </a:r>
            <a:r>
              <a:rPr lang="nb-NO" sz="1600" dirty="0"/>
              <a:t> </a:t>
            </a:r>
            <a:r>
              <a:rPr lang="nb-NO" sz="1600" dirty="0" err="1"/>
              <a:t>counillon</a:t>
            </a:r>
            <a:r>
              <a:rPr lang="nb-NO" sz="1600" dirty="0"/>
              <a:t>, </a:t>
            </a:r>
            <a:r>
              <a:rPr lang="nb-NO" sz="1600" dirty="0" err="1"/>
              <a:t>roshin</a:t>
            </a:r>
            <a:r>
              <a:rPr lang="nb-NO" sz="1600" dirty="0"/>
              <a:t> </a:t>
            </a:r>
            <a:r>
              <a:rPr lang="nb-NO" sz="1600" dirty="0" err="1"/>
              <a:t>raJ</a:t>
            </a:r>
            <a:r>
              <a:rPr lang="nb-NO" sz="1600" dirty="0"/>
              <a:t>, Kristin </a:t>
            </a:r>
            <a:r>
              <a:rPr lang="nb-NO" sz="1600" dirty="0" err="1"/>
              <a:t>richter</a:t>
            </a:r>
            <a:r>
              <a:rPr lang="nb-NO" sz="1600" dirty="0"/>
              <a:t>, (NERSC) </a:t>
            </a:r>
          </a:p>
          <a:p>
            <a:r>
              <a:rPr lang="nb-NO" sz="1600" dirty="0"/>
              <a:t>Mats </a:t>
            </a:r>
            <a:r>
              <a:rPr lang="nb-NO" sz="1600" dirty="0" err="1"/>
              <a:t>bentsen</a:t>
            </a:r>
            <a:r>
              <a:rPr lang="nb-NO" sz="1600" dirty="0"/>
              <a:t>, </a:t>
            </a:r>
            <a:r>
              <a:rPr lang="nb-NO" sz="1600" dirty="0" err="1"/>
              <a:t>alok</a:t>
            </a:r>
            <a:r>
              <a:rPr lang="nb-NO" sz="1600" dirty="0"/>
              <a:t> </a:t>
            </a:r>
            <a:r>
              <a:rPr lang="nb-NO" sz="1600" dirty="0" err="1"/>
              <a:t>gupta</a:t>
            </a:r>
            <a:r>
              <a:rPr lang="nb-NO" sz="1600" dirty="0"/>
              <a:t>, aleksi </a:t>
            </a:r>
            <a:r>
              <a:rPr lang="nb-NO" sz="1600" dirty="0" err="1"/>
              <a:t>nummelin</a:t>
            </a:r>
            <a:r>
              <a:rPr lang="nb-NO" sz="1600" dirty="0"/>
              <a:t> (NORCE)</a:t>
            </a:r>
          </a:p>
        </p:txBody>
      </p:sp>
    </p:spTree>
    <p:extLst>
      <p:ext uri="{BB962C8B-B14F-4D97-AF65-F5344CB8AC3E}">
        <p14:creationId xmlns:p14="http://schemas.microsoft.com/office/powerpoint/2010/main" val="16406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300"/>
    </mc:Choice>
    <mc:Fallback xmlns="">
      <p:transition spd="slow" advTm="1530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Table&#10;&#10;Description automatically generated with low confidence">
            <a:extLst>
              <a:ext uri="{FF2B5EF4-FFF2-40B4-BE49-F238E27FC236}">
                <a16:creationId xmlns:a16="http://schemas.microsoft.com/office/drawing/2014/main" id="{FD597CEB-DC9C-3899-7F73-226A95BD7B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7668" y="5864948"/>
            <a:ext cx="3710940" cy="54102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3B62D83-8E70-BB43-5859-62FC7CD72CB9}"/>
              </a:ext>
            </a:extLst>
          </p:cNvPr>
          <p:cNvSpPr txBox="1"/>
          <p:nvPr/>
        </p:nvSpPr>
        <p:spPr>
          <a:xfrm>
            <a:off x="8616280" y="6369004"/>
            <a:ext cx="22926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600"/>
              <a:t>2005–2016 linear trend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North Atlantic </a:t>
            </a:r>
            <a:r>
              <a:rPr lang="nb-NO" sz="1800" dirty="0" err="1"/>
              <a:t>sea</a:t>
            </a:r>
            <a:r>
              <a:rPr lang="nb-NO" sz="1800" dirty="0"/>
              <a:t>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during </a:t>
            </a:r>
            <a:r>
              <a:rPr lang="nb-NO" sz="1800" dirty="0" err="1"/>
              <a:t>the</a:t>
            </a:r>
            <a:r>
              <a:rPr lang="nb-NO" sz="1800" dirty="0"/>
              <a:t> </a:t>
            </a:r>
            <a:r>
              <a:rPr lang="nb-NO" sz="1800" dirty="0" err="1"/>
              <a:t>satellite</a:t>
            </a:r>
            <a:r>
              <a:rPr lang="nb-NO" sz="1800" dirty="0"/>
              <a:t> </a:t>
            </a:r>
            <a:r>
              <a:rPr lang="nb-NO" sz="1800" dirty="0" err="1"/>
              <a:t>altimetry</a:t>
            </a:r>
            <a:r>
              <a:rPr lang="nb-NO" sz="1800" dirty="0"/>
              <a:t> </a:t>
            </a:r>
            <a:r>
              <a:rPr lang="nb-NO" sz="1800" dirty="0" err="1"/>
              <a:t>era</a:t>
            </a:r>
            <a:r>
              <a:rPr lang="nb-NO" sz="1800" dirty="0"/>
              <a:t> – NUDGED (global </a:t>
            </a:r>
            <a:r>
              <a:rPr lang="nb-NO" sz="1800" dirty="0" err="1"/>
              <a:t>mean</a:t>
            </a:r>
            <a:r>
              <a:rPr lang="nb-NO" sz="1800" dirty="0"/>
              <a:t> </a:t>
            </a:r>
            <a:r>
              <a:rPr lang="nb-NO" sz="1800" dirty="0" err="1"/>
              <a:t>subtracted</a:t>
            </a:r>
            <a:r>
              <a:rPr lang="nb-NO" sz="1800" dirty="0"/>
              <a:t>)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0</a:t>
            </a:fld>
            <a:endParaRPr lang="nb-NO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A7297A2-FA1A-69E4-D104-024A8FDD34E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39417" y="1299648"/>
            <a:ext cx="2947035" cy="146939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922FD65-2AF9-6AEB-F3C6-88FDB4109F9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39416" y="2781662"/>
            <a:ext cx="2947035" cy="146939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394484C-9262-C6EC-D512-DD6D63A9567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261533" y="1298724"/>
            <a:ext cx="2947035" cy="146939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10034F0-C0B1-7FAB-CF1F-D17E1307C9C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8261533" y="2780738"/>
            <a:ext cx="2947035" cy="146939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BF8734C-8296-4B2B-66F6-8162974C80A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941038" y="1422747"/>
            <a:ext cx="4027169" cy="2468264"/>
          </a:xfrm>
          <a:prstGeom prst="rect">
            <a:avLst/>
          </a:prstGeom>
        </p:spPr>
      </p:pic>
      <p:pic>
        <p:nvPicPr>
          <p:cNvPr id="7" name="Picture 6" descr="Table&#10;&#10;Description automatically generated with low confidence">
            <a:extLst>
              <a:ext uri="{FF2B5EF4-FFF2-40B4-BE49-F238E27FC236}">
                <a16:creationId xmlns:a16="http://schemas.microsoft.com/office/drawing/2014/main" id="{66AF29A3-7BBF-B9D1-D41E-A2D7BF8D2D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844" y="5843925"/>
            <a:ext cx="3710940" cy="5410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241BC66-A971-C259-D14F-A0DE3E4EA690}"/>
              </a:ext>
            </a:extLst>
          </p:cNvPr>
          <p:cNvSpPr txBox="1"/>
          <p:nvPr/>
        </p:nvSpPr>
        <p:spPr>
          <a:xfrm rot="16200000">
            <a:off x="234448" y="1864142"/>
            <a:ext cx="984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>
                <a:solidFill>
                  <a:srgbClr val="0070C0"/>
                </a:solidFill>
              </a:rPr>
              <a:t>FRE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724678-3C10-8B64-70EC-C173BCE5B69D}"/>
              </a:ext>
            </a:extLst>
          </p:cNvPr>
          <p:cNvSpPr txBox="1"/>
          <p:nvPr/>
        </p:nvSpPr>
        <p:spPr>
          <a:xfrm rot="16200000">
            <a:off x="341998" y="3314407"/>
            <a:ext cx="769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/>
              <a:t>OB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3366CC-5AAD-6E62-D126-DD19919146CC}"/>
              </a:ext>
            </a:extLst>
          </p:cNvPr>
          <p:cNvSpPr txBox="1"/>
          <p:nvPr/>
        </p:nvSpPr>
        <p:spPr>
          <a:xfrm rot="16200000">
            <a:off x="10828916" y="1765773"/>
            <a:ext cx="984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>
                <a:solidFill>
                  <a:srgbClr val="0070C0"/>
                </a:solidFill>
              </a:rPr>
              <a:t>FRE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7ACB3E-DC6A-B2A8-203E-0D36E8A48131}"/>
              </a:ext>
            </a:extLst>
          </p:cNvPr>
          <p:cNvSpPr txBox="1"/>
          <p:nvPr/>
        </p:nvSpPr>
        <p:spPr>
          <a:xfrm rot="16200000">
            <a:off x="10936467" y="3264967"/>
            <a:ext cx="769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/>
              <a:t>OB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7074DC-7B3F-7626-1E48-3A6C567DA483}"/>
              </a:ext>
            </a:extLst>
          </p:cNvPr>
          <p:cNvSpPr txBox="1"/>
          <p:nvPr/>
        </p:nvSpPr>
        <p:spPr>
          <a:xfrm>
            <a:off x="1139089" y="6369467"/>
            <a:ext cx="22926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600"/>
              <a:t>1993–2004 linear tren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AEA670-9924-7FFB-3A56-795F7A30F6A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823651" y="4268880"/>
            <a:ext cx="2947035" cy="146939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957E3D-3145-8B2A-F647-8603C829BDC3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8256278" y="4267950"/>
            <a:ext cx="2947035" cy="146939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CA55812-7B49-37A4-9D69-F157A816A4EF}"/>
              </a:ext>
            </a:extLst>
          </p:cNvPr>
          <p:cNvSpPr txBox="1"/>
          <p:nvPr/>
        </p:nvSpPr>
        <p:spPr>
          <a:xfrm rot="16200000">
            <a:off x="140184" y="4769885"/>
            <a:ext cx="1152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rgbClr val="C00000"/>
                </a:solidFill>
              </a:rPr>
              <a:t>NUDG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8A3AFEB-9EAF-73A5-FA92-5A7FEAEE8AF2}"/>
              </a:ext>
            </a:extLst>
          </p:cNvPr>
          <p:cNvSpPr txBox="1"/>
          <p:nvPr/>
        </p:nvSpPr>
        <p:spPr>
          <a:xfrm rot="16200000">
            <a:off x="10745163" y="4749933"/>
            <a:ext cx="1152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rgbClr val="C00000"/>
                </a:solidFill>
              </a:rPr>
              <a:t>NUDG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06E621-ECB2-46BB-DDCD-58D1B7B88E59}"/>
              </a:ext>
            </a:extLst>
          </p:cNvPr>
          <p:cNvSpPr txBox="1"/>
          <p:nvPr/>
        </p:nvSpPr>
        <p:spPr>
          <a:xfrm>
            <a:off x="4091220" y="1103958"/>
            <a:ext cx="41545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M</a:t>
            </a:r>
            <a:r>
              <a:rPr lang="en-NO" sz="1600" dirty="0"/>
              <a:t>onthly sea level anomalies (deseasoned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D4BBC9-59CF-EA22-6672-F3721D8F1F6E}"/>
              </a:ext>
            </a:extLst>
          </p:cNvPr>
          <p:cNvSpPr txBox="1"/>
          <p:nvPr/>
        </p:nvSpPr>
        <p:spPr>
          <a:xfrm>
            <a:off x="4217391" y="3915723"/>
            <a:ext cx="3722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OBS: ARMOR3D (</a:t>
            </a:r>
            <a:r>
              <a:rPr lang="en-GB" sz="1200" dirty="0" err="1"/>
              <a:t>Guinehut</a:t>
            </a:r>
            <a:r>
              <a:rPr lang="en-GB" sz="1200" dirty="0"/>
              <a:t> et al. 2012, Ocean Sci.)</a:t>
            </a:r>
          </a:p>
        </p:txBody>
      </p:sp>
    </p:spTree>
    <p:extLst>
      <p:ext uri="{BB962C8B-B14F-4D97-AF65-F5344CB8AC3E}">
        <p14:creationId xmlns:p14="http://schemas.microsoft.com/office/powerpoint/2010/main" val="230385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364"/>
    </mc:Choice>
    <mc:Fallback xmlns="">
      <p:transition spd="slow" advTm="44364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Table&#10;&#10;Description automatically generated with low confidence">
            <a:extLst>
              <a:ext uri="{FF2B5EF4-FFF2-40B4-BE49-F238E27FC236}">
                <a16:creationId xmlns:a16="http://schemas.microsoft.com/office/drawing/2014/main" id="{FD597CEB-DC9C-3899-7F73-226A95BD7B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7668" y="5864948"/>
            <a:ext cx="3710940" cy="54102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3B62D83-8E70-BB43-5859-62FC7CD72CB9}"/>
              </a:ext>
            </a:extLst>
          </p:cNvPr>
          <p:cNvSpPr txBox="1"/>
          <p:nvPr/>
        </p:nvSpPr>
        <p:spPr>
          <a:xfrm>
            <a:off x="8616280" y="6369004"/>
            <a:ext cx="22926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600"/>
              <a:t>2005–2016 linear trend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North Atlantic </a:t>
            </a:r>
            <a:r>
              <a:rPr lang="nb-NO" sz="1800" dirty="0" err="1"/>
              <a:t>sea</a:t>
            </a:r>
            <a:r>
              <a:rPr lang="nb-NO" sz="1800" dirty="0"/>
              <a:t>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during </a:t>
            </a:r>
            <a:r>
              <a:rPr lang="nb-NO" sz="1800" dirty="0" err="1"/>
              <a:t>the</a:t>
            </a:r>
            <a:r>
              <a:rPr lang="nb-NO" sz="1800" dirty="0"/>
              <a:t> </a:t>
            </a:r>
            <a:r>
              <a:rPr lang="nb-NO" sz="1800" dirty="0" err="1"/>
              <a:t>satellite</a:t>
            </a:r>
            <a:r>
              <a:rPr lang="nb-NO" sz="1800" dirty="0"/>
              <a:t> </a:t>
            </a:r>
            <a:r>
              <a:rPr lang="nb-NO" sz="1800" dirty="0" err="1"/>
              <a:t>altimetry</a:t>
            </a:r>
            <a:r>
              <a:rPr lang="nb-NO" sz="1800" dirty="0"/>
              <a:t> </a:t>
            </a:r>
            <a:r>
              <a:rPr lang="nb-NO" sz="1800" dirty="0" err="1"/>
              <a:t>era</a:t>
            </a:r>
            <a:r>
              <a:rPr lang="nb-NO" sz="1800" dirty="0"/>
              <a:t> – NUDGED (global </a:t>
            </a:r>
            <a:r>
              <a:rPr lang="nb-NO" sz="1800" dirty="0" err="1"/>
              <a:t>mean</a:t>
            </a:r>
            <a:r>
              <a:rPr lang="nb-NO" sz="1800" dirty="0"/>
              <a:t> </a:t>
            </a:r>
            <a:r>
              <a:rPr lang="nb-NO" sz="1800" dirty="0" err="1"/>
              <a:t>subtracted</a:t>
            </a:r>
            <a:r>
              <a:rPr lang="nb-NO" sz="1800" dirty="0"/>
              <a:t>)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1</a:t>
            </a:fld>
            <a:endParaRPr lang="nb-NO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A7297A2-FA1A-69E4-D104-024A8FDD34E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39417" y="1299648"/>
            <a:ext cx="2947035" cy="146939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922FD65-2AF9-6AEB-F3C6-88FDB4109F9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39416" y="2781662"/>
            <a:ext cx="2947035" cy="146939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394484C-9262-C6EC-D512-DD6D63A9567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261533" y="1298724"/>
            <a:ext cx="2947035" cy="146939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10034F0-C0B1-7FAB-CF1F-D17E1307C9C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8261533" y="2780738"/>
            <a:ext cx="2947035" cy="146939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BF8734C-8296-4B2B-66F6-8162974C80A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941039" y="1422747"/>
            <a:ext cx="4027167" cy="2468264"/>
          </a:xfrm>
          <a:prstGeom prst="rect">
            <a:avLst/>
          </a:prstGeom>
        </p:spPr>
      </p:pic>
      <p:pic>
        <p:nvPicPr>
          <p:cNvPr id="7" name="Picture 6" descr="Table&#10;&#10;Description automatically generated with low confidence">
            <a:extLst>
              <a:ext uri="{FF2B5EF4-FFF2-40B4-BE49-F238E27FC236}">
                <a16:creationId xmlns:a16="http://schemas.microsoft.com/office/drawing/2014/main" id="{66AF29A3-7BBF-B9D1-D41E-A2D7BF8D2D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844" y="5843925"/>
            <a:ext cx="3710940" cy="5410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241BC66-A971-C259-D14F-A0DE3E4EA690}"/>
              </a:ext>
            </a:extLst>
          </p:cNvPr>
          <p:cNvSpPr txBox="1"/>
          <p:nvPr/>
        </p:nvSpPr>
        <p:spPr>
          <a:xfrm rot="16200000">
            <a:off x="234448" y="1864142"/>
            <a:ext cx="984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>
                <a:solidFill>
                  <a:srgbClr val="0070C0"/>
                </a:solidFill>
              </a:rPr>
              <a:t>FRE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724678-3C10-8B64-70EC-C173BCE5B69D}"/>
              </a:ext>
            </a:extLst>
          </p:cNvPr>
          <p:cNvSpPr txBox="1"/>
          <p:nvPr/>
        </p:nvSpPr>
        <p:spPr>
          <a:xfrm rot="16200000">
            <a:off x="341998" y="3314407"/>
            <a:ext cx="769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/>
              <a:t>OB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3366CC-5AAD-6E62-D126-DD19919146CC}"/>
              </a:ext>
            </a:extLst>
          </p:cNvPr>
          <p:cNvSpPr txBox="1"/>
          <p:nvPr/>
        </p:nvSpPr>
        <p:spPr>
          <a:xfrm rot="16200000">
            <a:off x="10828916" y="1765773"/>
            <a:ext cx="984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>
                <a:solidFill>
                  <a:srgbClr val="0070C0"/>
                </a:solidFill>
              </a:rPr>
              <a:t>FRE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7ACB3E-DC6A-B2A8-203E-0D36E8A48131}"/>
              </a:ext>
            </a:extLst>
          </p:cNvPr>
          <p:cNvSpPr txBox="1"/>
          <p:nvPr/>
        </p:nvSpPr>
        <p:spPr>
          <a:xfrm rot="16200000">
            <a:off x="10936467" y="3264967"/>
            <a:ext cx="769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/>
              <a:t>OB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7074DC-7B3F-7626-1E48-3A6C567DA483}"/>
              </a:ext>
            </a:extLst>
          </p:cNvPr>
          <p:cNvSpPr txBox="1"/>
          <p:nvPr/>
        </p:nvSpPr>
        <p:spPr>
          <a:xfrm>
            <a:off x="1139089" y="6369467"/>
            <a:ext cx="22926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600"/>
              <a:t>1993–2004 linear tren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AEA670-9924-7FFB-3A56-795F7A30F6A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823651" y="4268880"/>
            <a:ext cx="2947035" cy="146939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957E3D-3145-8B2A-F647-8603C829BDC3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8256278" y="4267950"/>
            <a:ext cx="2947035" cy="146939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CA55812-7B49-37A4-9D69-F157A816A4EF}"/>
              </a:ext>
            </a:extLst>
          </p:cNvPr>
          <p:cNvSpPr txBox="1"/>
          <p:nvPr/>
        </p:nvSpPr>
        <p:spPr>
          <a:xfrm rot="16200000">
            <a:off x="140184" y="4769885"/>
            <a:ext cx="1152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rgbClr val="C00000"/>
                </a:solidFill>
              </a:rPr>
              <a:t>NUDG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8A3AFEB-9EAF-73A5-FA92-5A7FEAEE8AF2}"/>
              </a:ext>
            </a:extLst>
          </p:cNvPr>
          <p:cNvSpPr txBox="1"/>
          <p:nvPr/>
        </p:nvSpPr>
        <p:spPr>
          <a:xfrm rot="16200000">
            <a:off x="10745163" y="4749933"/>
            <a:ext cx="1152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rgbClr val="C00000"/>
                </a:solidFill>
              </a:rPr>
              <a:t>NUDG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A2600A-880B-AA82-2BAE-2FA5669408E3}"/>
              </a:ext>
            </a:extLst>
          </p:cNvPr>
          <p:cNvSpPr txBox="1"/>
          <p:nvPr/>
        </p:nvSpPr>
        <p:spPr>
          <a:xfrm>
            <a:off x="4091220" y="1103958"/>
            <a:ext cx="41545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M</a:t>
            </a:r>
            <a:r>
              <a:rPr lang="en-NO" sz="1600" dirty="0"/>
              <a:t>onthly sea level anomalies (deseasoned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496FD15-3600-7692-7049-53FD7C64F3A8}"/>
              </a:ext>
            </a:extLst>
          </p:cNvPr>
          <p:cNvSpPr txBox="1"/>
          <p:nvPr/>
        </p:nvSpPr>
        <p:spPr>
          <a:xfrm>
            <a:off x="4217391" y="3915723"/>
            <a:ext cx="3722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OBS: ARMOR3D (</a:t>
            </a:r>
            <a:r>
              <a:rPr lang="en-GB" sz="1200" dirty="0" err="1"/>
              <a:t>Guinehut</a:t>
            </a:r>
            <a:r>
              <a:rPr lang="en-GB" sz="1200" dirty="0"/>
              <a:t> et al. 2012, Ocean Sci.)</a:t>
            </a:r>
          </a:p>
        </p:txBody>
      </p:sp>
    </p:spTree>
    <p:extLst>
      <p:ext uri="{BB962C8B-B14F-4D97-AF65-F5344CB8AC3E}">
        <p14:creationId xmlns:p14="http://schemas.microsoft.com/office/powerpoint/2010/main" val="3781813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364"/>
    </mc:Choice>
    <mc:Fallback xmlns="">
      <p:transition spd="slow" advTm="44364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Table&#10;&#10;Description automatically generated with low confidence">
            <a:extLst>
              <a:ext uri="{FF2B5EF4-FFF2-40B4-BE49-F238E27FC236}">
                <a16:creationId xmlns:a16="http://schemas.microsoft.com/office/drawing/2014/main" id="{FD597CEB-DC9C-3899-7F73-226A95BD7B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7668" y="5864948"/>
            <a:ext cx="3710940" cy="54102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3B62D83-8E70-BB43-5859-62FC7CD72CB9}"/>
              </a:ext>
            </a:extLst>
          </p:cNvPr>
          <p:cNvSpPr txBox="1"/>
          <p:nvPr/>
        </p:nvSpPr>
        <p:spPr>
          <a:xfrm>
            <a:off x="8616280" y="6369004"/>
            <a:ext cx="22926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600" dirty="0"/>
              <a:t>2005–2016 linear trend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North Atlantic </a:t>
            </a:r>
            <a:r>
              <a:rPr lang="nb-NO" sz="1800" dirty="0" err="1"/>
              <a:t>sea</a:t>
            </a:r>
            <a:r>
              <a:rPr lang="nb-NO" sz="1800" dirty="0"/>
              <a:t>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during </a:t>
            </a:r>
            <a:r>
              <a:rPr lang="nb-NO" sz="1800" dirty="0" err="1"/>
              <a:t>the</a:t>
            </a:r>
            <a:r>
              <a:rPr lang="nb-NO" sz="1800" dirty="0"/>
              <a:t> </a:t>
            </a:r>
            <a:r>
              <a:rPr lang="nb-NO" sz="1800" dirty="0" err="1"/>
              <a:t>satellite</a:t>
            </a:r>
            <a:r>
              <a:rPr lang="nb-NO" sz="1800" dirty="0"/>
              <a:t> </a:t>
            </a:r>
            <a:r>
              <a:rPr lang="nb-NO" sz="1800" dirty="0" err="1"/>
              <a:t>altimetry</a:t>
            </a:r>
            <a:r>
              <a:rPr lang="nb-NO" sz="1800" dirty="0"/>
              <a:t> </a:t>
            </a:r>
            <a:r>
              <a:rPr lang="nb-NO" sz="1800" dirty="0" err="1"/>
              <a:t>era</a:t>
            </a:r>
            <a:r>
              <a:rPr lang="nb-NO" sz="1800" dirty="0"/>
              <a:t> – NUDGED (global </a:t>
            </a:r>
            <a:r>
              <a:rPr lang="nb-NO" sz="1800" dirty="0" err="1"/>
              <a:t>mean</a:t>
            </a:r>
            <a:r>
              <a:rPr lang="nb-NO" sz="1800" dirty="0"/>
              <a:t> </a:t>
            </a:r>
            <a:r>
              <a:rPr lang="nb-NO" sz="1800" dirty="0" err="1"/>
              <a:t>included</a:t>
            </a:r>
            <a:r>
              <a:rPr lang="nb-NO" sz="1800" dirty="0"/>
              <a:t>)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2</a:t>
            </a:fld>
            <a:endParaRPr lang="nb-NO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A7297A2-FA1A-69E4-D104-024A8FDD34E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39417" y="1299648"/>
            <a:ext cx="2947035" cy="146939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922FD65-2AF9-6AEB-F3C6-88FDB4109F9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39416" y="2781662"/>
            <a:ext cx="2947035" cy="146939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394484C-9262-C6EC-D512-DD6D63A9567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261533" y="1298724"/>
            <a:ext cx="2947035" cy="146939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10034F0-C0B1-7FAB-CF1F-D17E1307C9C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8261533" y="2780738"/>
            <a:ext cx="2947035" cy="146939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BF8734C-8296-4B2B-66F6-8162974C80A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941039" y="1442958"/>
            <a:ext cx="4027167" cy="2427841"/>
          </a:xfrm>
          <a:prstGeom prst="rect">
            <a:avLst/>
          </a:prstGeom>
        </p:spPr>
      </p:pic>
      <p:pic>
        <p:nvPicPr>
          <p:cNvPr id="7" name="Picture 6" descr="Table&#10;&#10;Description automatically generated with low confidence">
            <a:extLst>
              <a:ext uri="{FF2B5EF4-FFF2-40B4-BE49-F238E27FC236}">
                <a16:creationId xmlns:a16="http://schemas.microsoft.com/office/drawing/2014/main" id="{66AF29A3-7BBF-B9D1-D41E-A2D7BF8D2D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844" y="5843925"/>
            <a:ext cx="3710940" cy="5410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241BC66-A971-C259-D14F-A0DE3E4EA690}"/>
              </a:ext>
            </a:extLst>
          </p:cNvPr>
          <p:cNvSpPr txBox="1"/>
          <p:nvPr/>
        </p:nvSpPr>
        <p:spPr>
          <a:xfrm rot="16200000">
            <a:off x="234448" y="1864142"/>
            <a:ext cx="984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>
                <a:solidFill>
                  <a:srgbClr val="0070C0"/>
                </a:solidFill>
              </a:rPr>
              <a:t>FRE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724678-3C10-8B64-70EC-C173BCE5B69D}"/>
              </a:ext>
            </a:extLst>
          </p:cNvPr>
          <p:cNvSpPr txBox="1"/>
          <p:nvPr/>
        </p:nvSpPr>
        <p:spPr>
          <a:xfrm rot="16200000">
            <a:off x="341998" y="3314407"/>
            <a:ext cx="769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/>
              <a:t>OB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3366CC-5AAD-6E62-D126-DD19919146CC}"/>
              </a:ext>
            </a:extLst>
          </p:cNvPr>
          <p:cNvSpPr txBox="1"/>
          <p:nvPr/>
        </p:nvSpPr>
        <p:spPr>
          <a:xfrm rot="16200000">
            <a:off x="10828916" y="1765773"/>
            <a:ext cx="984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>
                <a:solidFill>
                  <a:srgbClr val="0070C0"/>
                </a:solidFill>
              </a:rPr>
              <a:t>FRE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7ACB3E-DC6A-B2A8-203E-0D36E8A48131}"/>
              </a:ext>
            </a:extLst>
          </p:cNvPr>
          <p:cNvSpPr txBox="1"/>
          <p:nvPr/>
        </p:nvSpPr>
        <p:spPr>
          <a:xfrm rot="16200000">
            <a:off x="10936467" y="3264967"/>
            <a:ext cx="769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/>
              <a:t>OB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7074DC-7B3F-7626-1E48-3A6C567DA483}"/>
              </a:ext>
            </a:extLst>
          </p:cNvPr>
          <p:cNvSpPr txBox="1"/>
          <p:nvPr/>
        </p:nvSpPr>
        <p:spPr>
          <a:xfrm>
            <a:off x="1139089" y="6369467"/>
            <a:ext cx="22926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600" dirty="0"/>
              <a:t>1993–2004 linear tren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AEA670-9924-7FFB-3A56-795F7A30F6A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823651" y="4268880"/>
            <a:ext cx="2947035" cy="146939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957E3D-3145-8B2A-F647-8603C829BDC3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8256278" y="4267950"/>
            <a:ext cx="2947035" cy="146939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CA55812-7B49-37A4-9D69-F157A816A4EF}"/>
              </a:ext>
            </a:extLst>
          </p:cNvPr>
          <p:cNvSpPr txBox="1"/>
          <p:nvPr/>
        </p:nvSpPr>
        <p:spPr>
          <a:xfrm rot="16200000">
            <a:off x="140184" y="4769885"/>
            <a:ext cx="1152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rgbClr val="C00000"/>
                </a:solidFill>
              </a:rPr>
              <a:t>NUDG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8A3AFEB-9EAF-73A5-FA92-5A7FEAEE8AF2}"/>
              </a:ext>
            </a:extLst>
          </p:cNvPr>
          <p:cNvSpPr txBox="1"/>
          <p:nvPr/>
        </p:nvSpPr>
        <p:spPr>
          <a:xfrm rot="16200000">
            <a:off x="10745163" y="4749933"/>
            <a:ext cx="1152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rgbClr val="C00000"/>
                </a:solidFill>
              </a:rPr>
              <a:t>NUDG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6ECBB9-A53C-B6BB-1F89-FD98F5F7AFEF}"/>
              </a:ext>
            </a:extLst>
          </p:cNvPr>
          <p:cNvSpPr txBox="1"/>
          <p:nvPr/>
        </p:nvSpPr>
        <p:spPr>
          <a:xfrm>
            <a:off x="4091220" y="1103958"/>
            <a:ext cx="41545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M</a:t>
            </a:r>
            <a:r>
              <a:rPr lang="en-NO" sz="1600" dirty="0"/>
              <a:t>onthly sea level anomalies (deseasoned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2B39B44-573D-68A7-2125-F5E91794127A}"/>
              </a:ext>
            </a:extLst>
          </p:cNvPr>
          <p:cNvSpPr txBox="1"/>
          <p:nvPr/>
        </p:nvSpPr>
        <p:spPr>
          <a:xfrm>
            <a:off x="4217391" y="3915723"/>
            <a:ext cx="3722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OBS: ARMOR3D (</a:t>
            </a:r>
            <a:r>
              <a:rPr lang="en-GB" sz="1200" dirty="0" err="1"/>
              <a:t>Guinehut</a:t>
            </a:r>
            <a:r>
              <a:rPr lang="en-GB" sz="1200" dirty="0"/>
              <a:t> et al. 2012, Ocean Sci.)</a:t>
            </a:r>
          </a:p>
        </p:txBody>
      </p:sp>
      <p:pic>
        <p:nvPicPr>
          <p:cNvPr id="21" name="Picture 20" descr="Chart, line chart&#10;&#10;Description automatically generated">
            <a:extLst>
              <a:ext uri="{FF2B5EF4-FFF2-40B4-BE49-F238E27FC236}">
                <a16:creationId xmlns:a16="http://schemas.microsoft.com/office/drawing/2014/main" id="{21B98895-2A45-B1E4-C8FE-BE9A91C3F0E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52828" y="4267950"/>
            <a:ext cx="3286344" cy="2568636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D114EA4-EF36-A426-45A9-9B8E8810C3A3}"/>
              </a:ext>
            </a:extLst>
          </p:cNvPr>
          <p:cNvSpPr txBox="1"/>
          <p:nvPr/>
        </p:nvSpPr>
        <p:spPr>
          <a:xfrm>
            <a:off x="4925603" y="4802265"/>
            <a:ext cx="15376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/>
              <a:t>Llovel et al. 2019</a:t>
            </a:r>
          </a:p>
          <a:p>
            <a:r>
              <a:rPr lang="en-NO" sz="1400" dirty="0"/>
              <a:t>Sci. Rep. </a:t>
            </a:r>
          </a:p>
        </p:txBody>
      </p:sp>
    </p:spTree>
    <p:extLst>
      <p:ext uri="{BB962C8B-B14F-4D97-AF65-F5344CB8AC3E}">
        <p14:creationId xmlns:p14="http://schemas.microsoft.com/office/powerpoint/2010/main" val="351308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364"/>
    </mc:Choice>
    <mc:Fallback xmlns="">
      <p:transition spd="slow" advTm="44364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North Pacific </a:t>
            </a:r>
            <a:r>
              <a:rPr lang="nb-NO" sz="1800" dirty="0" err="1"/>
              <a:t>sea</a:t>
            </a:r>
            <a:r>
              <a:rPr lang="nb-NO" sz="1800" dirty="0"/>
              <a:t>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during </a:t>
            </a:r>
            <a:r>
              <a:rPr lang="nb-NO" sz="1800" dirty="0" err="1"/>
              <a:t>the</a:t>
            </a:r>
            <a:r>
              <a:rPr lang="nb-NO" sz="1800" dirty="0"/>
              <a:t> </a:t>
            </a:r>
            <a:r>
              <a:rPr lang="nb-NO" sz="1800" dirty="0" err="1"/>
              <a:t>satellite</a:t>
            </a:r>
            <a:r>
              <a:rPr lang="nb-NO" sz="1800" dirty="0"/>
              <a:t> </a:t>
            </a:r>
            <a:r>
              <a:rPr lang="nb-NO" sz="1800" dirty="0" err="1"/>
              <a:t>altimetry</a:t>
            </a:r>
            <a:r>
              <a:rPr lang="nb-NO" sz="1800" dirty="0"/>
              <a:t> </a:t>
            </a:r>
            <a:r>
              <a:rPr lang="nb-NO" sz="1800" dirty="0" err="1"/>
              <a:t>era</a:t>
            </a:r>
            <a:r>
              <a:rPr lang="nb-NO" sz="1800" dirty="0"/>
              <a:t> – NUDGED (global </a:t>
            </a:r>
            <a:r>
              <a:rPr lang="nb-NO" sz="1800" dirty="0" err="1"/>
              <a:t>mean</a:t>
            </a:r>
            <a:r>
              <a:rPr lang="nb-NO" sz="1800" dirty="0"/>
              <a:t> </a:t>
            </a:r>
            <a:r>
              <a:rPr lang="nb-NO" sz="1800" dirty="0" err="1"/>
              <a:t>included</a:t>
            </a:r>
            <a:r>
              <a:rPr lang="nb-NO" sz="1800" dirty="0"/>
              <a:t>) 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8F41BCD-C303-2297-4924-E0D7CB68CBD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17602" y="1219200"/>
            <a:ext cx="3627120" cy="158496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C8A4D37D-5F30-24C7-EFFA-14BB0FF6B55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17602" y="2844800"/>
            <a:ext cx="3627120" cy="158496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2B7E5307-30F1-8545-679C-BF9D09B65EE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17602" y="4470400"/>
            <a:ext cx="3627120" cy="158496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27EF032C-2390-CB29-B54D-693C87F5E8C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378702" y="1219200"/>
            <a:ext cx="3627120" cy="158496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6A39291-7F1C-5049-2388-B936DE08D71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378702" y="2844800"/>
            <a:ext cx="3627120" cy="15849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EEBFF88-797D-16C5-29EE-C5A28AA0476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7378702" y="4470400"/>
            <a:ext cx="3627120" cy="1584960"/>
          </a:xfrm>
          <a:prstGeom prst="rect">
            <a:avLst/>
          </a:prstGeom>
        </p:spPr>
      </p:pic>
      <p:pic>
        <p:nvPicPr>
          <p:cNvPr id="40" name="Picture 39" descr="Table&#10;&#10;Description automatically generated with low confidence">
            <a:extLst>
              <a:ext uri="{FF2B5EF4-FFF2-40B4-BE49-F238E27FC236}">
                <a16:creationId xmlns:a16="http://schemas.microsoft.com/office/drawing/2014/main" id="{B7EEAA62-62F3-F875-9581-1B8EBA2113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66373" y="6096000"/>
            <a:ext cx="4616897" cy="6731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F017EBF5-8FD5-251D-07A6-2A8988A7BF3C}"/>
              </a:ext>
            </a:extLst>
          </p:cNvPr>
          <p:cNvSpPr txBox="1"/>
          <p:nvPr/>
        </p:nvSpPr>
        <p:spPr>
          <a:xfrm>
            <a:off x="1024789" y="6051967"/>
            <a:ext cx="22926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600" dirty="0"/>
              <a:t>1993–2004 linear tren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565C00E-8903-5A74-474C-2CBDD07C741B}"/>
              </a:ext>
            </a:extLst>
          </p:cNvPr>
          <p:cNvSpPr txBox="1"/>
          <p:nvPr/>
        </p:nvSpPr>
        <p:spPr>
          <a:xfrm>
            <a:off x="8832180" y="6038804"/>
            <a:ext cx="22926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600" dirty="0"/>
              <a:t>2005–2016 linear trend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524583E-D10B-D36C-1A89-2328A23BCC9F}"/>
              </a:ext>
            </a:extLst>
          </p:cNvPr>
          <p:cNvSpPr txBox="1"/>
          <p:nvPr/>
        </p:nvSpPr>
        <p:spPr>
          <a:xfrm rot="16200000">
            <a:off x="501148" y="1699042"/>
            <a:ext cx="984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>
                <a:solidFill>
                  <a:srgbClr val="0070C0"/>
                </a:solidFill>
              </a:rPr>
              <a:t>FRE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B5CBC69-C6A0-DB78-3BCF-2AFD0D5B2DAA}"/>
              </a:ext>
            </a:extLst>
          </p:cNvPr>
          <p:cNvSpPr txBox="1"/>
          <p:nvPr/>
        </p:nvSpPr>
        <p:spPr>
          <a:xfrm rot="16200000">
            <a:off x="10635748" y="1737142"/>
            <a:ext cx="984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rgbClr val="0070C0"/>
                </a:solidFill>
              </a:rPr>
              <a:t>FRE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5D2F9B1-D67C-7C04-F46B-4010B467CC16}"/>
              </a:ext>
            </a:extLst>
          </p:cNvPr>
          <p:cNvSpPr txBox="1"/>
          <p:nvPr/>
        </p:nvSpPr>
        <p:spPr>
          <a:xfrm rot="16200000">
            <a:off x="595998" y="3441407"/>
            <a:ext cx="769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/>
              <a:t>OB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76D3184-A130-FB9B-36BF-0CBC79B0011C}"/>
              </a:ext>
            </a:extLst>
          </p:cNvPr>
          <p:cNvSpPr txBox="1"/>
          <p:nvPr/>
        </p:nvSpPr>
        <p:spPr>
          <a:xfrm rot="16200000">
            <a:off x="10730598" y="3441407"/>
            <a:ext cx="769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/>
              <a:t>OB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6A4770E-B6B5-68C6-F2CA-75A22A4DDFC6}"/>
              </a:ext>
            </a:extLst>
          </p:cNvPr>
          <p:cNvSpPr txBox="1"/>
          <p:nvPr/>
        </p:nvSpPr>
        <p:spPr>
          <a:xfrm rot="16200000">
            <a:off x="419584" y="5100085"/>
            <a:ext cx="1152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rgbClr val="C00000"/>
                </a:solidFill>
              </a:rPr>
              <a:t>NUDGE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C8EE439-94D5-20CC-BCA6-0CD1575C241E}"/>
              </a:ext>
            </a:extLst>
          </p:cNvPr>
          <p:cNvSpPr txBox="1"/>
          <p:nvPr/>
        </p:nvSpPr>
        <p:spPr>
          <a:xfrm rot="16200000">
            <a:off x="10541484" y="5087385"/>
            <a:ext cx="1152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rgbClr val="C00000"/>
                </a:solidFill>
              </a:rPr>
              <a:t>NUDGED</a:t>
            </a:r>
          </a:p>
        </p:txBody>
      </p:sp>
    </p:spTree>
    <p:extLst>
      <p:ext uri="{BB962C8B-B14F-4D97-AF65-F5344CB8AC3E}">
        <p14:creationId xmlns:p14="http://schemas.microsoft.com/office/powerpoint/2010/main" val="4132644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364"/>
    </mc:Choice>
    <mc:Fallback xmlns="">
      <p:transition spd="slow" advTm="44364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200AB0C5-4461-0EE1-4782-625046BE1AA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982534" y="3750577"/>
            <a:ext cx="3480203" cy="215999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CBF16F09-E6F3-4FEB-F2A7-97999B85BC0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11337" y="3749364"/>
            <a:ext cx="3480203" cy="215999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5721856-F763-1C0E-8AD0-E854D5ADBA8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288572" y="3751101"/>
            <a:ext cx="3480203" cy="2159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DDAD37-AE08-37C7-D8B6-0606EE66050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982861" y="1489011"/>
            <a:ext cx="3480203" cy="2159999"/>
          </a:xfrm>
          <a:prstGeom prst="rect">
            <a:avLst/>
          </a:prstGeom>
        </p:spPr>
      </p:pic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4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68A60CD2-458B-E7E8-5660-139D1F195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Regional </a:t>
            </a:r>
            <a:r>
              <a:rPr lang="nb-NO" sz="1800" dirty="0" err="1"/>
              <a:t>sea</a:t>
            </a:r>
            <a:r>
              <a:rPr lang="nb-NO" sz="1800" dirty="0"/>
              <a:t>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– FRE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DEE619-029C-F6BD-AF8E-617BE1A1A69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4526002" y="1620540"/>
            <a:ext cx="3298190" cy="19380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2623B4B-6E40-6CCB-F071-086CCC5D107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07179" y="1492443"/>
            <a:ext cx="3480203" cy="2160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EE916DC-0C7D-60FB-DF61-EF96D9033B18}"/>
              </a:ext>
            </a:extLst>
          </p:cNvPr>
          <p:cNvSpPr txBox="1"/>
          <p:nvPr/>
        </p:nvSpPr>
        <p:spPr>
          <a:xfrm>
            <a:off x="5231904" y="1692548"/>
            <a:ext cx="4571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FB8FAA-6F9D-0334-DD62-27C4A7112A7B}"/>
              </a:ext>
            </a:extLst>
          </p:cNvPr>
          <p:cNvSpPr txBox="1"/>
          <p:nvPr/>
        </p:nvSpPr>
        <p:spPr>
          <a:xfrm>
            <a:off x="2135560" y="1426002"/>
            <a:ext cx="4571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6374F8-48AB-5A0F-9A27-A916712B7042}"/>
              </a:ext>
            </a:extLst>
          </p:cNvPr>
          <p:cNvSpPr txBox="1"/>
          <p:nvPr/>
        </p:nvSpPr>
        <p:spPr>
          <a:xfrm>
            <a:off x="2099210" y="3661954"/>
            <a:ext cx="4683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EE12A4-DDB5-F7BE-409D-FDD2413FF9E1}"/>
              </a:ext>
            </a:extLst>
          </p:cNvPr>
          <p:cNvSpPr txBox="1"/>
          <p:nvPr/>
        </p:nvSpPr>
        <p:spPr>
          <a:xfrm>
            <a:off x="4699058" y="1866910"/>
            <a:ext cx="4683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5811CD-5E01-D330-69C8-1C34930A1948}"/>
              </a:ext>
            </a:extLst>
          </p:cNvPr>
          <p:cNvSpPr txBox="1"/>
          <p:nvPr/>
        </p:nvSpPr>
        <p:spPr>
          <a:xfrm>
            <a:off x="5996284" y="3627504"/>
            <a:ext cx="332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FCEADB-07E0-9B49-9DC1-1E113BCE621B}"/>
              </a:ext>
            </a:extLst>
          </p:cNvPr>
          <p:cNvSpPr txBox="1"/>
          <p:nvPr/>
        </p:nvSpPr>
        <p:spPr>
          <a:xfrm>
            <a:off x="4637369" y="2067669"/>
            <a:ext cx="332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D71A44-F302-BDD2-8AF6-AA51584AD18D}"/>
              </a:ext>
            </a:extLst>
          </p:cNvPr>
          <p:cNvSpPr txBox="1"/>
          <p:nvPr/>
        </p:nvSpPr>
        <p:spPr>
          <a:xfrm>
            <a:off x="9807526" y="1404516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6A6026-FBAC-50C7-E83F-CEF2EA42FEDE}"/>
              </a:ext>
            </a:extLst>
          </p:cNvPr>
          <p:cNvSpPr txBox="1"/>
          <p:nvPr/>
        </p:nvSpPr>
        <p:spPr>
          <a:xfrm>
            <a:off x="6207126" y="2722146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926A035-2EAA-721D-6345-EBCB7D4E8AFD}"/>
              </a:ext>
            </a:extLst>
          </p:cNvPr>
          <p:cNvSpPr txBox="1"/>
          <p:nvPr/>
        </p:nvSpPr>
        <p:spPr>
          <a:xfrm>
            <a:off x="7465355" y="3060700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01951F6-3606-C3F9-B5D4-B7508EC07D71}"/>
              </a:ext>
            </a:extLst>
          </p:cNvPr>
          <p:cNvSpPr txBox="1"/>
          <p:nvPr/>
        </p:nvSpPr>
        <p:spPr>
          <a:xfrm>
            <a:off x="9747522" y="3636764"/>
            <a:ext cx="3209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D82484-C30C-F359-9262-D7E344240E95}"/>
              </a:ext>
            </a:extLst>
          </p:cNvPr>
          <p:cNvSpPr txBox="1"/>
          <p:nvPr/>
        </p:nvSpPr>
        <p:spPr>
          <a:xfrm>
            <a:off x="4834970" y="1329856"/>
            <a:ext cx="25827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g</a:t>
            </a:r>
            <a:r>
              <a:rPr lang="en-NO" dirty="0"/>
              <a:t>lobal mean subtracted</a:t>
            </a:r>
          </a:p>
        </p:txBody>
      </p:sp>
    </p:spTree>
    <p:extLst>
      <p:ext uri="{BB962C8B-B14F-4D97-AF65-F5344CB8AC3E}">
        <p14:creationId xmlns:p14="http://schemas.microsoft.com/office/powerpoint/2010/main" val="295168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6398"/>
    </mc:Choice>
    <mc:Fallback xmlns="">
      <p:transition spd="slow" advTm="46398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200AB0C5-4461-0EE1-4782-625046BE1AA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982534" y="3750577"/>
            <a:ext cx="3480202" cy="215999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CBF16F09-E6F3-4FEB-F2A7-97999B85BC0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11337" y="3749364"/>
            <a:ext cx="3480202" cy="215999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5721856-F763-1C0E-8AD0-E854D5ADBA8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288572" y="3751101"/>
            <a:ext cx="3480202" cy="2159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DDAD37-AE08-37C7-D8B6-0606EE66050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982861" y="1489011"/>
            <a:ext cx="3480202" cy="2159999"/>
          </a:xfrm>
          <a:prstGeom prst="rect">
            <a:avLst/>
          </a:prstGeom>
        </p:spPr>
      </p:pic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5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68A60CD2-458B-E7E8-5660-139D1F195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Regional </a:t>
            </a:r>
            <a:r>
              <a:rPr lang="nb-NO" sz="1800" dirty="0" err="1"/>
              <a:t>sea</a:t>
            </a:r>
            <a:r>
              <a:rPr lang="nb-NO" sz="1800" dirty="0"/>
              <a:t>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– NUDG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DEE619-029C-F6BD-AF8E-617BE1A1A69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4526002" y="1620540"/>
            <a:ext cx="3298190" cy="19380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2623B4B-6E40-6CCB-F071-086CCC5D107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07179" y="1492443"/>
            <a:ext cx="3480203" cy="21599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EE916DC-0C7D-60FB-DF61-EF96D9033B18}"/>
              </a:ext>
            </a:extLst>
          </p:cNvPr>
          <p:cNvSpPr txBox="1"/>
          <p:nvPr/>
        </p:nvSpPr>
        <p:spPr>
          <a:xfrm>
            <a:off x="5231904" y="1692548"/>
            <a:ext cx="4571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FB8FAA-6F9D-0334-DD62-27C4A7112A7B}"/>
              </a:ext>
            </a:extLst>
          </p:cNvPr>
          <p:cNvSpPr txBox="1"/>
          <p:nvPr/>
        </p:nvSpPr>
        <p:spPr>
          <a:xfrm>
            <a:off x="2135560" y="1426002"/>
            <a:ext cx="4571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6374F8-48AB-5A0F-9A27-A916712B7042}"/>
              </a:ext>
            </a:extLst>
          </p:cNvPr>
          <p:cNvSpPr txBox="1"/>
          <p:nvPr/>
        </p:nvSpPr>
        <p:spPr>
          <a:xfrm>
            <a:off x="2099210" y="3661954"/>
            <a:ext cx="4683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EE12A4-DDB5-F7BE-409D-FDD2413FF9E1}"/>
              </a:ext>
            </a:extLst>
          </p:cNvPr>
          <p:cNvSpPr txBox="1"/>
          <p:nvPr/>
        </p:nvSpPr>
        <p:spPr>
          <a:xfrm>
            <a:off x="4699058" y="1866910"/>
            <a:ext cx="4683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5811CD-5E01-D330-69C8-1C34930A1948}"/>
              </a:ext>
            </a:extLst>
          </p:cNvPr>
          <p:cNvSpPr txBox="1"/>
          <p:nvPr/>
        </p:nvSpPr>
        <p:spPr>
          <a:xfrm>
            <a:off x="5996284" y="3627504"/>
            <a:ext cx="332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FCEADB-07E0-9B49-9DC1-1E113BCE621B}"/>
              </a:ext>
            </a:extLst>
          </p:cNvPr>
          <p:cNvSpPr txBox="1"/>
          <p:nvPr/>
        </p:nvSpPr>
        <p:spPr>
          <a:xfrm>
            <a:off x="4637369" y="2067669"/>
            <a:ext cx="332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D71A44-F302-BDD2-8AF6-AA51584AD18D}"/>
              </a:ext>
            </a:extLst>
          </p:cNvPr>
          <p:cNvSpPr txBox="1"/>
          <p:nvPr/>
        </p:nvSpPr>
        <p:spPr>
          <a:xfrm>
            <a:off x="9807526" y="1404516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6A6026-FBAC-50C7-E83F-CEF2EA42FEDE}"/>
              </a:ext>
            </a:extLst>
          </p:cNvPr>
          <p:cNvSpPr txBox="1"/>
          <p:nvPr/>
        </p:nvSpPr>
        <p:spPr>
          <a:xfrm>
            <a:off x="6207126" y="2722146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926A035-2EAA-721D-6345-EBCB7D4E8AFD}"/>
              </a:ext>
            </a:extLst>
          </p:cNvPr>
          <p:cNvSpPr txBox="1"/>
          <p:nvPr/>
        </p:nvSpPr>
        <p:spPr>
          <a:xfrm>
            <a:off x="7465355" y="3060700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01951F6-3606-C3F9-B5D4-B7508EC07D71}"/>
              </a:ext>
            </a:extLst>
          </p:cNvPr>
          <p:cNvSpPr txBox="1"/>
          <p:nvPr/>
        </p:nvSpPr>
        <p:spPr>
          <a:xfrm>
            <a:off x="9747522" y="3636764"/>
            <a:ext cx="3209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4ABF845-2208-4B9B-663D-986723104C3B}"/>
              </a:ext>
            </a:extLst>
          </p:cNvPr>
          <p:cNvSpPr txBox="1"/>
          <p:nvPr/>
        </p:nvSpPr>
        <p:spPr>
          <a:xfrm>
            <a:off x="4834970" y="1329856"/>
            <a:ext cx="25827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g</a:t>
            </a:r>
            <a:r>
              <a:rPr lang="en-NO" dirty="0"/>
              <a:t>lobal mean subtracted</a:t>
            </a:r>
          </a:p>
        </p:txBody>
      </p:sp>
    </p:spTree>
    <p:extLst>
      <p:ext uri="{BB962C8B-B14F-4D97-AF65-F5344CB8AC3E}">
        <p14:creationId xmlns:p14="http://schemas.microsoft.com/office/powerpoint/2010/main" val="106463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6398"/>
    </mc:Choice>
    <mc:Fallback xmlns="">
      <p:transition spd="slow" advTm="46398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200AB0C5-4461-0EE1-4782-625046BE1AA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982534" y="3750577"/>
            <a:ext cx="3480202" cy="215999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CBF16F09-E6F3-4FEB-F2A7-97999B85BC0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11337" y="3749364"/>
            <a:ext cx="3480202" cy="215999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5721856-F763-1C0E-8AD0-E854D5ADBA8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288572" y="3751101"/>
            <a:ext cx="3480202" cy="2159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DDAD37-AE08-37C7-D8B6-0606EE66050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982861" y="1489011"/>
            <a:ext cx="3480202" cy="2159999"/>
          </a:xfrm>
          <a:prstGeom prst="rect">
            <a:avLst/>
          </a:prstGeom>
        </p:spPr>
      </p:pic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6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68A60CD2-458B-E7E8-5660-139D1F195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Regional </a:t>
            </a:r>
            <a:r>
              <a:rPr lang="nb-NO" sz="1800" dirty="0" err="1"/>
              <a:t>sea</a:t>
            </a:r>
            <a:r>
              <a:rPr lang="nb-NO" sz="1800" dirty="0"/>
              <a:t>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– OBS minus </a:t>
            </a:r>
            <a:r>
              <a:rPr lang="nb-NO" sz="1800" dirty="0" err="1"/>
              <a:t>interna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(NUDGED-FREE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DEE619-029C-F6BD-AF8E-617BE1A1A69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4526002" y="1620540"/>
            <a:ext cx="3298190" cy="19380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2623B4B-6E40-6CCB-F071-086CCC5D107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07179" y="1492443"/>
            <a:ext cx="3480203" cy="21599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EE916DC-0C7D-60FB-DF61-EF96D9033B18}"/>
              </a:ext>
            </a:extLst>
          </p:cNvPr>
          <p:cNvSpPr txBox="1"/>
          <p:nvPr/>
        </p:nvSpPr>
        <p:spPr>
          <a:xfrm>
            <a:off x="5231904" y="1692548"/>
            <a:ext cx="4571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FB8FAA-6F9D-0334-DD62-27C4A7112A7B}"/>
              </a:ext>
            </a:extLst>
          </p:cNvPr>
          <p:cNvSpPr txBox="1"/>
          <p:nvPr/>
        </p:nvSpPr>
        <p:spPr>
          <a:xfrm>
            <a:off x="2135560" y="1426002"/>
            <a:ext cx="4571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6374F8-48AB-5A0F-9A27-A916712B7042}"/>
              </a:ext>
            </a:extLst>
          </p:cNvPr>
          <p:cNvSpPr txBox="1"/>
          <p:nvPr/>
        </p:nvSpPr>
        <p:spPr>
          <a:xfrm>
            <a:off x="2099210" y="3661954"/>
            <a:ext cx="4683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EE12A4-DDB5-F7BE-409D-FDD2413FF9E1}"/>
              </a:ext>
            </a:extLst>
          </p:cNvPr>
          <p:cNvSpPr txBox="1"/>
          <p:nvPr/>
        </p:nvSpPr>
        <p:spPr>
          <a:xfrm>
            <a:off x="4699058" y="1866910"/>
            <a:ext cx="4683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5811CD-5E01-D330-69C8-1C34930A1948}"/>
              </a:ext>
            </a:extLst>
          </p:cNvPr>
          <p:cNvSpPr txBox="1"/>
          <p:nvPr/>
        </p:nvSpPr>
        <p:spPr>
          <a:xfrm>
            <a:off x="5996284" y="3627504"/>
            <a:ext cx="332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FCEADB-07E0-9B49-9DC1-1E113BCE621B}"/>
              </a:ext>
            </a:extLst>
          </p:cNvPr>
          <p:cNvSpPr txBox="1"/>
          <p:nvPr/>
        </p:nvSpPr>
        <p:spPr>
          <a:xfrm>
            <a:off x="4637369" y="2067669"/>
            <a:ext cx="332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D71A44-F302-BDD2-8AF6-AA51584AD18D}"/>
              </a:ext>
            </a:extLst>
          </p:cNvPr>
          <p:cNvSpPr txBox="1"/>
          <p:nvPr/>
        </p:nvSpPr>
        <p:spPr>
          <a:xfrm>
            <a:off x="9807526" y="1404516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6A6026-FBAC-50C7-E83F-CEF2EA42FEDE}"/>
              </a:ext>
            </a:extLst>
          </p:cNvPr>
          <p:cNvSpPr txBox="1"/>
          <p:nvPr/>
        </p:nvSpPr>
        <p:spPr>
          <a:xfrm>
            <a:off x="6207126" y="2722146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926A035-2EAA-721D-6345-EBCB7D4E8AFD}"/>
              </a:ext>
            </a:extLst>
          </p:cNvPr>
          <p:cNvSpPr txBox="1"/>
          <p:nvPr/>
        </p:nvSpPr>
        <p:spPr>
          <a:xfrm>
            <a:off x="7465355" y="3060700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01951F6-3606-C3F9-B5D4-B7508EC07D71}"/>
              </a:ext>
            </a:extLst>
          </p:cNvPr>
          <p:cNvSpPr txBox="1"/>
          <p:nvPr/>
        </p:nvSpPr>
        <p:spPr>
          <a:xfrm>
            <a:off x="9747522" y="3636764"/>
            <a:ext cx="3209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8E5DFC-C525-D866-9EE3-5F1D2CF08350}"/>
              </a:ext>
            </a:extLst>
          </p:cNvPr>
          <p:cNvSpPr txBox="1"/>
          <p:nvPr/>
        </p:nvSpPr>
        <p:spPr>
          <a:xfrm>
            <a:off x="4834970" y="1329856"/>
            <a:ext cx="25827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g</a:t>
            </a:r>
            <a:r>
              <a:rPr lang="en-NO" dirty="0"/>
              <a:t>lobal mean subtracted</a:t>
            </a:r>
          </a:p>
        </p:txBody>
      </p:sp>
    </p:spTree>
    <p:extLst>
      <p:ext uri="{BB962C8B-B14F-4D97-AF65-F5344CB8AC3E}">
        <p14:creationId xmlns:p14="http://schemas.microsoft.com/office/powerpoint/2010/main" val="345650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6398"/>
    </mc:Choice>
    <mc:Fallback xmlns="">
      <p:transition spd="slow" advTm="46398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200AB0C5-4461-0EE1-4782-625046BE1AA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982534" y="3750577"/>
            <a:ext cx="3480202" cy="215999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CBF16F09-E6F3-4FEB-F2A7-97999B85BC0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11337" y="3749364"/>
            <a:ext cx="3480202" cy="215999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5721856-F763-1C0E-8AD0-E854D5ADBA8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288572" y="3751101"/>
            <a:ext cx="3480202" cy="215999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DDAD37-AE08-37C7-D8B6-0606EE66050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982861" y="1489011"/>
            <a:ext cx="3480202" cy="2159998"/>
          </a:xfrm>
          <a:prstGeom prst="rect">
            <a:avLst/>
          </a:prstGeom>
        </p:spPr>
      </p:pic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17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68A60CD2-458B-E7E8-5660-139D1F195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Regional </a:t>
            </a:r>
            <a:r>
              <a:rPr lang="nb-NO" sz="1800" dirty="0" err="1"/>
              <a:t>sea</a:t>
            </a:r>
            <a:r>
              <a:rPr lang="nb-NO" sz="1800" dirty="0"/>
              <a:t>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– OBS minus </a:t>
            </a:r>
            <a:r>
              <a:rPr lang="nb-NO" sz="1800" dirty="0" err="1"/>
              <a:t>interna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(NUDGED-FREE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DEE619-029C-F6BD-AF8E-617BE1A1A69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4526002" y="1620540"/>
            <a:ext cx="3298190" cy="19380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2623B4B-6E40-6CCB-F071-086CCC5D107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07179" y="1492443"/>
            <a:ext cx="3480202" cy="21599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EE916DC-0C7D-60FB-DF61-EF96D9033B18}"/>
              </a:ext>
            </a:extLst>
          </p:cNvPr>
          <p:cNvSpPr txBox="1"/>
          <p:nvPr/>
        </p:nvSpPr>
        <p:spPr>
          <a:xfrm>
            <a:off x="5231904" y="1692548"/>
            <a:ext cx="4571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FB8FAA-6F9D-0334-DD62-27C4A7112A7B}"/>
              </a:ext>
            </a:extLst>
          </p:cNvPr>
          <p:cNvSpPr txBox="1"/>
          <p:nvPr/>
        </p:nvSpPr>
        <p:spPr>
          <a:xfrm>
            <a:off x="2135560" y="1426002"/>
            <a:ext cx="4571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6374F8-48AB-5A0F-9A27-A916712B7042}"/>
              </a:ext>
            </a:extLst>
          </p:cNvPr>
          <p:cNvSpPr txBox="1"/>
          <p:nvPr/>
        </p:nvSpPr>
        <p:spPr>
          <a:xfrm>
            <a:off x="2099210" y="3661954"/>
            <a:ext cx="4683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EE12A4-DDB5-F7BE-409D-FDD2413FF9E1}"/>
              </a:ext>
            </a:extLst>
          </p:cNvPr>
          <p:cNvSpPr txBox="1"/>
          <p:nvPr/>
        </p:nvSpPr>
        <p:spPr>
          <a:xfrm>
            <a:off x="4699058" y="1866910"/>
            <a:ext cx="4683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5811CD-5E01-D330-69C8-1C34930A1948}"/>
              </a:ext>
            </a:extLst>
          </p:cNvPr>
          <p:cNvSpPr txBox="1"/>
          <p:nvPr/>
        </p:nvSpPr>
        <p:spPr>
          <a:xfrm>
            <a:off x="5996284" y="3627504"/>
            <a:ext cx="332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FCEADB-07E0-9B49-9DC1-1E113BCE621B}"/>
              </a:ext>
            </a:extLst>
          </p:cNvPr>
          <p:cNvSpPr txBox="1"/>
          <p:nvPr/>
        </p:nvSpPr>
        <p:spPr>
          <a:xfrm>
            <a:off x="4637369" y="2067669"/>
            <a:ext cx="332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D71A44-F302-BDD2-8AF6-AA51584AD18D}"/>
              </a:ext>
            </a:extLst>
          </p:cNvPr>
          <p:cNvSpPr txBox="1"/>
          <p:nvPr/>
        </p:nvSpPr>
        <p:spPr>
          <a:xfrm>
            <a:off x="9807526" y="1404516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6A6026-FBAC-50C7-E83F-CEF2EA42FEDE}"/>
              </a:ext>
            </a:extLst>
          </p:cNvPr>
          <p:cNvSpPr txBox="1"/>
          <p:nvPr/>
        </p:nvSpPr>
        <p:spPr>
          <a:xfrm>
            <a:off x="6207126" y="2722146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926A035-2EAA-721D-6345-EBCB7D4E8AFD}"/>
              </a:ext>
            </a:extLst>
          </p:cNvPr>
          <p:cNvSpPr txBox="1"/>
          <p:nvPr/>
        </p:nvSpPr>
        <p:spPr>
          <a:xfrm>
            <a:off x="7465355" y="3060700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/>
              <a:t>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01951F6-3606-C3F9-B5D4-B7508EC07D71}"/>
              </a:ext>
            </a:extLst>
          </p:cNvPr>
          <p:cNvSpPr txBox="1"/>
          <p:nvPr/>
        </p:nvSpPr>
        <p:spPr>
          <a:xfrm>
            <a:off x="9747522" y="3636764"/>
            <a:ext cx="3209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8E5DFC-C525-D866-9EE3-5F1D2CF08350}"/>
              </a:ext>
            </a:extLst>
          </p:cNvPr>
          <p:cNvSpPr txBox="1"/>
          <p:nvPr/>
        </p:nvSpPr>
        <p:spPr>
          <a:xfrm>
            <a:off x="4834970" y="1329856"/>
            <a:ext cx="2364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g</a:t>
            </a:r>
            <a:r>
              <a:rPr lang="en-NO" dirty="0"/>
              <a:t>lobal mean included</a:t>
            </a:r>
          </a:p>
        </p:txBody>
      </p:sp>
    </p:spTree>
    <p:extLst>
      <p:ext uri="{BB962C8B-B14F-4D97-AF65-F5344CB8AC3E}">
        <p14:creationId xmlns:p14="http://schemas.microsoft.com/office/powerpoint/2010/main" val="4131528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6398"/>
    </mc:Choice>
    <mc:Fallback xmlns="">
      <p:transition spd="slow" advTm="46398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33402" y="1234800"/>
            <a:ext cx="10323895" cy="456962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1800" dirty="0">
                <a:solidFill>
                  <a:schemeClr val="tx1"/>
                </a:solidFill>
              </a:rPr>
              <a:t>NorESM </a:t>
            </a:r>
            <a:r>
              <a:rPr lang="nb-NO" sz="1800" dirty="0" err="1">
                <a:solidFill>
                  <a:schemeClr val="tx1"/>
                </a:solidFill>
              </a:rPr>
              <a:t>with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constrained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atmospheric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circulation</a:t>
            </a:r>
            <a:r>
              <a:rPr lang="nb-NO" sz="1800" dirty="0">
                <a:solidFill>
                  <a:schemeClr val="tx1"/>
                </a:solidFill>
              </a:rPr>
              <a:t> reproduces </a:t>
            </a:r>
            <a:r>
              <a:rPr lang="nb-NO" sz="1800" dirty="0" err="1">
                <a:solidFill>
                  <a:schemeClr val="tx1"/>
                </a:solidFill>
              </a:rPr>
              <a:t>observed</a:t>
            </a:r>
            <a:r>
              <a:rPr lang="nb-NO" sz="1800" dirty="0">
                <a:solidFill>
                  <a:schemeClr val="tx1"/>
                </a:solidFill>
              </a:rPr>
              <a:t> regional </a:t>
            </a:r>
            <a:r>
              <a:rPr lang="nb-NO" sz="1800" dirty="0" err="1">
                <a:solidFill>
                  <a:schemeClr val="tx1"/>
                </a:solidFill>
              </a:rPr>
              <a:t>sea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level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changes</a:t>
            </a:r>
            <a:r>
              <a:rPr lang="nb-NO" sz="1800" dirty="0">
                <a:solidFill>
                  <a:schemeClr val="tx1"/>
                </a:solidFill>
              </a:rPr>
              <a:t> relative to global </a:t>
            </a:r>
            <a:r>
              <a:rPr lang="nb-NO" sz="1800" dirty="0" err="1">
                <a:solidFill>
                  <a:schemeClr val="tx1"/>
                </a:solidFill>
              </a:rPr>
              <a:t>mea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change</a:t>
            </a:r>
            <a:endParaRPr lang="nb-NO" sz="18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1800" dirty="0" err="1">
                <a:solidFill>
                  <a:schemeClr val="tx1"/>
                </a:solidFill>
              </a:rPr>
              <a:t>Atmospheric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circulatio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variability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important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o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interdecadal</a:t>
            </a:r>
            <a:r>
              <a:rPr lang="nb-NO" sz="1800" dirty="0">
                <a:solidFill>
                  <a:schemeClr val="tx1"/>
                </a:solidFill>
              </a:rPr>
              <a:t> and </a:t>
            </a:r>
            <a:r>
              <a:rPr lang="nb-NO" sz="1800" dirty="0" err="1">
                <a:solidFill>
                  <a:schemeClr val="tx1"/>
                </a:solidFill>
              </a:rPr>
              <a:t>shorter</a:t>
            </a:r>
            <a:r>
              <a:rPr lang="nb-NO" sz="1800" dirty="0">
                <a:solidFill>
                  <a:schemeClr val="tx1"/>
                </a:solidFill>
              </a:rPr>
              <a:t> time-</a:t>
            </a:r>
            <a:r>
              <a:rPr lang="nb-NO" sz="1800" dirty="0" err="1">
                <a:solidFill>
                  <a:schemeClr val="tx1"/>
                </a:solidFill>
              </a:rPr>
              <a:t>scales</a:t>
            </a:r>
            <a:r>
              <a:rPr lang="nb-NO" sz="1800" dirty="0">
                <a:solidFill>
                  <a:schemeClr val="tx1"/>
                </a:solidFill>
              </a:rPr>
              <a:t> and </a:t>
            </a:r>
            <a:r>
              <a:rPr lang="nb-NO" sz="1800" dirty="0" err="1">
                <a:solidFill>
                  <a:schemeClr val="tx1"/>
                </a:solidFill>
              </a:rPr>
              <a:t>will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likely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dominated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near</a:t>
            </a:r>
            <a:r>
              <a:rPr lang="nb-NO" sz="1800" dirty="0">
                <a:solidFill>
                  <a:schemeClr val="tx1"/>
                </a:solidFill>
              </a:rPr>
              <a:t>-term regional </a:t>
            </a:r>
            <a:r>
              <a:rPr lang="nb-NO" sz="1800" dirty="0" err="1">
                <a:solidFill>
                  <a:schemeClr val="tx1"/>
                </a:solidFill>
              </a:rPr>
              <a:t>sea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level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changes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despite</a:t>
            </a:r>
            <a:r>
              <a:rPr lang="nb-NO" sz="1800" dirty="0">
                <a:solidFill>
                  <a:schemeClr val="tx1"/>
                </a:solidFill>
              </a:rPr>
              <a:t> robust </a:t>
            </a:r>
            <a:r>
              <a:rPr lang="nb-NO" sz="1800" dirty="0" err="1">
                <a:solidFill>
                  <a:schemeClr val="tx1"/>
                </a:solidFill>
              </a:rPr>
              <a:t>anthropogenic</a:t>
            </a:r>
            <a:r>
              <a:rPr lang="nb-NO" sz="1800" dirty="0">
                <a:solidFill>
                  <a:schemeClr val="tx1"/>
                </a:solidFill>
              </a:rPr>
              <a:t> signal</a:t>
            </a:r>
          </a:p>
          <a:p>
            <a:pPr>
              <a:buFont typeface="Arial" panose="020B0604020202020204" pitchFamily="34" charset="0"/>
              <a:buChar char="•"/>
            </a:pPr>
            <a:endParaRPr lang="nb-NO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1800" dirty="0" err="1">
                <a:solidFill>
                  <a:schemeClr val="tx1"/>
                </a:solidFill>
              </a:rPr>
              <a:t>Removing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the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circulation</a:t>
            </a:r>
            <a:r>
              <a:rPr lang="nb-NO" sz="1800" dirty="0">
                <a:solidFill>
                  <a:schemeClr val="tx1"/>
                </a:solidFill>
              </a:rPr>
              <a:t>-driven </a:t>
            </a:r>
            <a:r>
              <a:rPr lang="en-GB" sz="1800" dirty="0">
                <a:solidFill>
                  <a:schemeClr val="tx1"/>
                </a:solidFill>
              </a:rPr>
              <a:t>signal</a:t>
            </a:r>
            <a:r>
              <a:rPr lang="nb-NO" sz="1800" dirty="0">
                <a:solidFill>
                  <a:schemeClr val="tx1"/>
                </a:solidFill>
              </a:rPr>
              <a:t> from </a:t>
            </a:r>
            <a:r>
              <a:rPr lang="nb-NO" sz="1800" dirty="0" err="1">
                <a:solidFill>
                  <a:schemeClr val="tx1"/>
                </a:solidFill>
              </a:rPr>
              <a:t>observations</a:t>
            </a:r>
            <a:r>
              <a:rPr lang="nb-NO" sz="1800" dirty="0">
                <a:solidFill>
                  <a:schemeClr val="tx1"/>
                </a:solidFill>
              </a:rPr>
              <a:t> reveals regional long-term trend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 err="1">
                <a:solidFill>
                  <a:schemeClr val="tx1"/>
                </a:solidFill>
              </a:rPr>
              <a:t>high</a:t>
            </a:r>
            <a:r>
              <a:rPr lang="nb-NO" sz="1800" dirty="0">
                <a:solidFill>
                  <a:schemeClr val="tx1"/>
                </a:solidFill>
              </a:rPr>
              <a:t> North Atlantic (e.g., North Sea, Barents Sea): trends </a:t>
            </a:r>
            <a:r>
              <a:rPr lang="nb-NO" sz="1800" dirty="0" err="1">
                <a:solidFill>
                  <a:schemeClr val="tx1"/>
                </a:solidFill>
              </a:rPr>
              <a:t>amplified</a:t>
            </a:r>
            <a:r>
              <a:rPr lang="nb-NO" sz="1800" dirty="0">
                <a:solidFill>
                  <a:schemeClr val="tx1"/>
                </a:solidFill>
              </a:rPr>
              <a:t> relative to global </a:t>
            </a:r>
            <a:r>
              <a:rPr lang="nb-NO" sz="1800" dirty="0" err="1">
                <a:solidFill>
                  <a:schemeClr val="tx1"/>
                </a:solidFill>
              </a:rPr>
              <a:t>mean</a:t>
            </a:r>
            <a:r>
              <a:rPr lang="nb-NO" sz="1800" dirty="0">
                <a:solidFill>
                  <a:schemeClr val="tx1"/>
                </a:solidFill>
              </a:rPr>
              <a:t> tren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 err="1">
                <a:solidFill>
                  <a:schemeClr val="tx1"/>
                </a:solidFill>
              </a:rPr>
              <a:t>low</a:t>
            </a:r>
            <a:r>
              <a:rPr lang="nb-NO" sz="1800" dirty="0">
                <a:solidFill>
                  <a:schemeClr val="tx1"/>
                </a:solidFill>
              </a:rPr>
              <a:t>-latitude regions: trends not </a:t>
            </a:r>
            <a:r>
              <a:rPr lang="nb-NO" sz="1800" dirty="0" err="1">
                <a:solidFill>
                  <a:schemeClr val="tx1"/>
                </a:solidFill>
              </a:rPr>
              <a:t>significantly</a:t>
            </a:r>
            <a:r>
              <a:rPr lang="nb-NO" sz="1800" dirty="0">
                <a:solidFill>
                  <a:schemeClr val="tx1"/>
                </a:solidFill>
              </a:rPr>
              <a:t> different from global </a:t>
            </a:r>
            <a:r>
              <a:rPr lang="nb-NO" sz="1800" dirty="0" err="1">
                <a:solidFill>
                  <a:schemeClr val="tx1"/>
                </a:solidFill>
              </a:rPr>
              <a:t>mean</a:t>
            </a:r>
            <a:r>
              <a:rPr lang="nb-NO" sz="1800" dirty="0">
                <a:solidFill>
                  <a:schemeClr val="tx1"/>
                </a:solidFill>
              </a:rPr>
              <a:t> trend   </a:t>
            </a:r>
          </a:p>
          <a:p>
            <a:pPr>
              <a:buFont typeface="Arial" panose="020B0604020202020204" pitchFamily="34" charset="0"/>
              <a:buChar char="•"/>
            </a:pPr>
            <a:endParaRPr lang="nb-NO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1800" dirty="0" err="1">
                <a:solidFill>
                  <a:schemeClr val="tx1"/>
                </a:solidFill>
              </a:rPr>
              <a:t>Constraining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atmospheric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circulatio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variability</a:t>
            </a:r>
            <a:r>
              <a:rPr lang="nb-NO" sz="1800" dirty="0">
                <a:solidFill>
                  <a:schemeClr val="tx1"/>
                </a:solidFill>
              </a:rPr>
              <a:t> in </a:t>
            </a:r>
            <a:r>
              <a:rPr lang="nb-NO" sz="1800" dirty="0" err="1">
                <a:solidFill>
                  <a:schemeClr val="tx1"/>
                </a:solidFill>
              </a:rPr>
              <a:t>coupled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simulations</a:t>
            </a:r>
            <a:r>
              <a:rPr lang="nb-NO" sz="1800" dirty="0">
                <a:solidFill>
                  <a:schemeClr val="tx1"/>
                </a:solidFill>
              </a:rPr>
              <a:t> is a </a:t>
            </a:r>
            <a:r>
              <a:rPr lang="nb-NO" sz="1800" dirty="0" err="1">
                <a:solidFill>
                  <a:schemeClr val="tx1"/>
                </a:solidFill>
              </a:rPr>
              <a:t>powerful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new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tool</a:t>
            </a:r>
            <a:endParaRPr lang="nb-NO" sz="1800" dirty="0">
              <a:solidFill>
                <a:schemeClr val="tx1"/>
              </a:solidFill>
            </a:endParaRPr>
          </a:p>
          <a:p>
            <a:pPr lvl="1">
              <a:spcBef>
                <a:spcPts val="800"/>
              </a:spcBef>
            </a:pPr>
            <a:r>
              <a:rPr lang="nb-NO" sz="1800" dirty="0" err="1">
                <a:solidFill>
                  <a:schemeClr val="tx1"/>
                </a:solidFill>
              </a:rPr>
              <a:t>model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evaluation</a:t>
            </a:r>
            <a:r>
              <a:rPr lang="nb-NO" sz="1800" dirty="0">
                <a:solidFill>
                  <a:schemeClr val="tx1"/>
                </a:solidFill>
              </a:rPr>
              <a:t>, </a:t>
            </a:r>
            <a:r>
              <a:rPr lang="nb-NO" sz="1800" dirty="0" err="1">
                <a:solidFill>
                  <a:schemeClr val="tx1"/>
                </a:solidFill>
              </a:rPr>
              <a:t>climate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change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detection</a:t>
            </a:r>
            <a:r>
              <a:rPr lang="nb-NO" sz="1800" dirty="0">
                <a:solidFill>
                  <a:schemeClr val="tx1"/>
                </a:solidFill>
              </a:rPr>
              <a:t> &amp; </a:t>
            </a:r>
            <a:r>
              <a:rPr lang="nb-NO" sz="1800" dirty="0" err="1">
                <a:solidFill>
                  <a:schemeClr val="tx1"/>
                </a:solidFill>
              </a:rPr>
              <a:t>attribution</a:t>
            </a:r>
            <a:r>
              <a:rPr lang="nb-NO" sz="1800" dirty="0">
                <a:solidFill>
                  <a:schemeClr val="tx1"/>
                </a:solidFill>
              </a:rPr>
              <a:t>, </a:t>
            </a:r>
            <a:r>
              <a:rPr lang="nb-NO" sz="1800" dirty="0" err="1">
                <a:solidFill>
                  <a:schemeClr val="tx1"/>
                </a:solidFill>
              </a:rPr>
              <a:t>past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reconstruction</a:t>
            </a:r>
            <a:r>
              <a:rPr lang="nb-NO" sz="1800" dirty="0">
                <a:solidFill>
                  <a:schemeClr val="tx1"/>
                </a:solidFill>
              </a:rPr>
              <a:t>, </a:t>
            </a:r>
            <a:r>
              <a:rPr lang="nb-NO" sz="1800" dirty="0" err="1">
                <a:solidFill>
                  <a:schemeClr val="tx1"/>
                </a:solidFill>
              </a:rPr>
              <a:t>future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prediction</a:t>
            </a:r>
            <a:endParaRPr lang="nb-NO" sz="1800" dirty="0">
              <a:solidFill>
                <a:schemeClr val="tx1"/>
              </a:solidFill>
            </a:endParaRPr>
          </a:p>
          <a:p>
            <a:pPr lvl="1">
              <a:spcBef>
                <a:spcPts val="800"/>
              </a:spcBef>
            </a:pPr>
            <a:r>
              <a:rPr lang="nb-NO" sz="1800" dirty="0" err="1">
                <a:solidFill>
                  <a:schemeClr val="tx1"/>
                </a:solidFill>
              </a:rPr>
              <a:t>closed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budgets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allows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studying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dynamics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that</a:t>
            </a:r>
            <a:r>
              <a:rPr lang="nb-NO" sz="1800" dirty="0">
                <a:solidFill>
                  <a:schemeClr val="tx1"/>
                </a:solidFill>
              </a:rPr>
              <a:t> lead to </a:t>
            </a:r>
            <a:r>
              <a:rPr lang="nb-NO" sz="1800" dirty="0" err="1">
                <a:solidFill>
                  <a:schemeClr val="tx1"/>
                </a:solidFill>
              </a:rPr>
              <a:t>observed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ocea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climate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variability</a:t>
            </a:r>
            <a:endParaRPr lang="nb-NO" sz="1800" dirty="0">
              <a:solidFill>
                <a:schemeClr val="tx1"/>
              </a:solidFill>
            </a:endParaRPr>
          </a:p>
          <a:p>
            <a:pPr lvl="1">
              <a:spcBef>
                <a:spcPts val="800"/>
              </a:spcBef>
            </a:pPr>
            <a:r>
              <a:rPr lang="nb-NO" sz="1800" dirty="0">
                <a:solidFill>
                  <a:schemeClr val="tx1"/>
                </a:solidFill>
              </a:rPr>
              <a:t>single </a:t>
            </a:r>
            <a:r>
              <a:rPr lang="nb-NO" sz="1800" dirty="0" err="1">
                <a:solidFill>
                  <a:schemeClr val="tx1"/>
                </a:solidFill>
              </a:rPr>
              <a:t>simulatio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suitable</a:t>
            </a:r>
            <a:r>
              <a:rPr lang="nb-NO" sz="1800" dirty="0">
                <a:solidFill>
                  <a:schemeClr val="tx1"/>
                </a:solidFill>
              </a:rPr>
              <a:t> for </a:t>
            </a:r>
            <a:r>
              <a:rPr lang="nb-NO" sz="1800" dirty="0" err="1">
                <a:solidFill>
                  <a:schemeClr val="tx1"/>
                </a:solidFill>
              </a:rPr>
              <a:t>computational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expensive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high-resolutio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modelling</a:t>
            </a:r>
            <a:endParaRPr lang="nb-NO" sz="1800" dirty="0">
              <a:solidFill>
                <a:schemeClr val="tx1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8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 err="1"/>
              <a:t>Summary</a:t>
            </a:r>
            <a:endParaRPr lang="nb-NO" sz="18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8B0ACD-1B97-420D-C198-11A36BF4BF83}"/>
              </a:ext>
            </a:extLst>
          </p:cNvPr>
          <p:cNvSpPr txBox="1"/>
          <p:nvPr/>
        </p:nvSpPr>
        <p:spPr>
          <a:xfrm rot="20095989">
            <a:off x="8993825" y="5535451"/>
            <a:ext cx="2518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>
                <a:solidFill>
                  <a:srgbClr val="00B050"/>
                </a:solidFill>
              </a:rPr>
              <a:t>Manuscript in progress</a:t>
            </a:r>
          </a:p>
        </p:txBody>
      </p:sp>
    </p:spTree>
    <p:extLst>
      <p:ext uri="{BB962C8B-B14F-4D97-AF65-F5344CB8AC3E}">
        <p14:creationId xmlns:p14="http://schemas.microsoft.com/office/powerpoint/2010/main" val="163487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Sea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during </a:t>
            </a:r>
            <a:r>
              <a:rPr lang="nb-NO" sz="1800" dirty="0" err="1"/>
              <a:t>the</a:t>
            </a:r>
            <a:r>
              <a:rPr lang="nb-NO" sz="1800" dirty="0"/>
              <a:t> </a:t>
            </a:r>
            <a:r>
              <a:rPr lang="nb-NO" sz="1800" dirty="0" err="1"/>
              <a:t>satellite</a:t>
            </a:r>
            <a:r>
              <a:rPr lang="nb-NO" sz="1800" dirty="0"/>
              <a:t> </a:t>
            </a:r>
            <a:r>
              <a:rPr lang="nb-NO" sz="1800" dirty="0" err="1"/>
              <a:t>altimetry</a:t>
            </a:r>
            <a:r>
              <a:rPr lang="nb-NO" sz="1800" dirty="0"/>
              <a:t> </a:t>
            </a:r>
            <a:r>
              <a:rPr lang="nb-NO" sz="1800" dirty="0" err="1"/>
              <a:t>era</a:t>
            </a:r>
            <a:r>
              <a:rPr lang="nb-NO" sz="1800" dirty="0"/>
              <a:t> (1993–present)  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CBBE21F-60AE-FDCB-9F8F-EBC1070180B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28796" y="1161029"/>
            <a:ext cx="10734408" cy="5086565"/>
          </a:xfrm>
          <a:prstGeom prst="rect">
            <a:avLst/>
          </a:prstGeom>
        </p:spPr>
      </p:pic>
      <p:pic>
        <p:nvPicPr>
          <p:cNvPr id="7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3392C09E-833C-9C24-1565-E1F666926FA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64347"/>
          <a:stretch/>
        </p:blipFill>
        <p:spPr>
          <a:xfrm>
            <a:off x="1016000" y="6172802"/>
            <a:ext cx="4754880" cy="496262"/>
          </a:xfrm>
          <a:prstGeom prst="rect">
            <a:avLst/>
          </a:prstGeom>
        </p:spPr>
      </p:pic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FA97367-7345-AE32-19DF-E98B0C145AC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5217"/>
          <a:stretch/>
        </p:blipFill>
        <p:spPr>
          <a:xfrm>
            <a:off x="6388100" y="6203089"/>
            <a:ext cx="4643120" cy="48768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9703B61-A951-1662-E81A-BD1A5BA17766}"/>
              </a:ext>
            </a:extLst>
          </p:cNvPr>
          <p:cNvSpPr txBox="1"/>
          <p:nvPr/>
        </p:nvSpPr>
        <p:spPr>
          <a:xfrm>
            <a:off x="4231894" y="6483993"/>
            <a:ext cx="3722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OBS: ARMOR3D (</a:t>
            </a:r>
            <a:r>
              <a:rPr lang="en-GB" sz="1200" dirty="0" err="1"/>
              <a:t>Guinehut</a:t>
            </a:r>
            <a:r>
              <a:rPr lang="en-GB" sz="1200" dirty="0"/>
              <a:t> et al. 2012, Ocean Sci.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FD767E-F09C-D36C-862F-E0A8E600B327}"/>
              </a:ext>
            </a:extLst>
          </p:cNvPr>
          <p:cNvSpPr txBox="1"/>
          <p:nvPr/>
        </p:nvSpPr>
        <p:spPr>
          <a:xfrm>
            <a:off x="8595938" y="1400144"/>
            <a:ext cx="2435282" cy="17029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dirty="0"/>
              <a:t>Controls on sea leve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M</a:t>
            </a:r>
            <a:r>
              <a:rPr lang="en-NO" dirty="0"/>
              <a:t>ass chang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M</a:t>
            </a:r>
            <a:r>
              <a:rPr lang="en-NO" dirty="0"/>
              <a:t>ass redistribu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NO" dirty="0"/>
              <a:t>Thermal expansion</a:t>
            </a:r>
          </a:p>
        </p:txBody>
      </p:sp>
    </p:spTree>
    <p:extLst>
      <p:ext uri="{BB962C8B-B14F-4D97-AF65-F5344CB8AC3E}">
        <p14:creationId xmlns:p14="http://schemas.microsoft.com/office/powerpoint/2010/main" val="2082588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7996"/>
    </mc:Choice>
    <mc:Fallback xmlns="">
      <p:transition spd="slow" advTm="87996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68646A3-B51B-A660-4DF9-CE2A28F900A6}"/>
              </a:ext>
            </a:extLst>
          </p:cNvPr>
          <p:cNvSpPr txBox="1"/>
          <p:nvPr/>
        </p:nvSpPr>
        <p:spPr>
          <a:xfrm>
            <a:off x="4631078" y="3818978"/>
            <a:ext cx="31213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/>
              <a:t>Chafik et al. 2019, Scientific Reports 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Sea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during </a:t>
            </a:r>
            <a:r>
              <a:rPr lang="nb-NO" sz="1800" dirty="0" err="1"/>
              <a:t>the</a:t>
            </a:r>
            <a:r>
              <a:rPr lang="nb-NO" sz="1800" dirty="0"/>
              <a:t> </a:t>
            </a:r>
            <a:r>
              <a:rPr lang="nb-NO" sz="1800" dirty="0" err="1"/>
              <a:t>satellite</a:t>
            </a:r>
            <a:r>
              <a:rPr lang="nb-NO" sz="1800" dirty="0"/>
              <a:t> </a:t>
            </a:r>
            <a:r>
              <a:rPr lang="nb-NO" sz="1800" dirty="0" err="1"/>
              <a:t>altimetry</a:t>
            </a:r>
            <a:r>
              <a:rPr lang="nb-NO" sz="1800" dirty="0"/>
              <a:t> </a:t>
            </a:r>
            <a:r>
              <a:rPr lang="nb-NO" sz="1800" dirty="0" err="1"/>
              <a:t>era</a:t>
            </a:r>
            <a:r>
              <a:rPr lang="nb-NO" sz="1800" dirty="0"/>
              <a:t> (1993–present) – North Atlantic 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B4401538-DDD5-E041-5458-0B066CB272E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659" r="48965" b="74409"/>
          <a:stretch/>
        </p:blipFill>
        <p:spPr>
          <a:xfrm>
            <a:off x="335360" y="1485578"/>
            <a:ext cx="3301903" cy="1980000"/>
          </a:xfrm>
          <a:prstGeom prst="rect">
            <a:avLst/>
          </a:prstGeom>
        </p:spPr>
      </p:pic>
      <p:pic>
        <p:nvPicPr>
          <p:cNvPr id="8" name="Picture 7" descr="Chart&#10;&#10;Description automatically generated">
            <a:extLst>
              <a:ext uri="{FF2B5EF4-FFF2-40B4-BE49-F238E27FC236}">
                <a16:creationId xmlns:a16="http://schemas.microsoft.com/office/drawing/2014/main" id="{1879C3FF-7CC5-4E70-8DEE-081DF5A95C6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7350"/>
          <a:stretch/>
        </p:blipFill>
        <p:spPr>
          <a:xfrm>
            <a:off x="3719736" y="1542499"/>
            <a:ext cx="4680000" cy="23270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A8F57DA-E426-CD40-7E56-32AC9076E549}"/>
              </a:ext>
            </a:extLst>
          </p:cNvPr>
          <p:cNvSpPr txBox="1"/>
          <p:nvPr/>
        </p:nvSpPr>
        <p:spPr>
          <a:xfrm>
            <a:off x="589315" y="4858677"/>
            <a:ext cx="1021838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R</a:t>
            </a:r>
            <a:r>
              <a:rPr lang="en-NO" dirty="0"/>
              <a:t>egional trends strongly influenced by atmospheric-driven ocean circulation variability</a:t>
            </a:r>
          </a:p>
          <a:p>
            <a:r>
              <a:rPr lang="en-NO" sz="500" dirty="0"/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dirty="0">
                <a:solidFill>
                  <a:srgbClr val="C00000"/>
                </a:solidFill>
              </a:rPr>
              <a:t>complicates detection and quantification of anthropogenic signals</a:t>
            </a:r>
          </a:p>
          <a:p>
            <a:r>
              <a:rPr lang="en-NO" sz="500" dirty="0">
                <a:solidFill>
                  <a:srgbClr val="C00000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dirty="0">
                <a:solidFill>
                  <a:srgbClr val="C00000"/>
                </a:solidFill>
              </a:rPr>
              <a:t>complicates ESM evaluation because simulated variability not in phase with observations</a:t>
            </a:r>
          </a:p>
        </p:txBody>
      </p:sp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6BB334DA-7AC3-716B-213D-A14CA1E401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482" t="52001" r="16759" b="43960"/>
          <a:stretch/>
        </p:blipFill>
        <p:spPr>
          <a:xfrm>
            <a:off x="731744" y="3496661"/>
            <a:ext cx="3060000" cy="245233"/>
          </a:xfrm>
          <a:prstGeom prst="rect">
            <a:avLst/>
          </a:prstGeom>
        </p:spPr>
      </p:pic>
      <p:pic>
        <p:nvPicPr>
          <p:cNvPr id="5" name="Picture 4" descr="Chart&#10;&#10;Description automatically generated">
            <a:extLst>
              <a:ext uri="{FF2B5EF4-FFF2-40B4-BE49-F238E27FC236}">
                <a16:creationId xmlns:a16="http://schemas.microsoft.com/office/drawing/2014/main" id="{E81668A5-3ED6-4376-42B5-8F9618F19BB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80" t="25852" r="49082" b="48950"/>
          <a:stretch/>
        </p:blipFill>
        <p:spPr>
          <a:xfrm>
            <a:off x="8371591" y="1542499"/>
            <a:ext cx="3100500" cy="1908000"/>
          </a:xfrm>
          <a:prstGeom prst="rect">
            <a:avLst/>
          </a:prstGeom>
        </p:spPr>
      </p:pic>
      <p:pic>
        <p:nvPicPr>
          <p:cNvPr id="7" name="Picture 6" descr="Chart&#10;&#10;Description automatically generated">
            <a:extLst>
              <a:ext uri="{FF2B5EF4-FFF2-40B4-BE49-F238E27FC236}">
                <a16:creationId xmlns:a16="http://schemas.microsoft.com/office/drawing/2014/main" id="{ED66C0A4-DC44-4518-A26F-CF6CA2FCF0F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482" t="52001" r="16759" b="43960"/>
          <a:stretch/>
        </p:blipFill>
        <p:spPr>
          <a:xfrm>
            <a:off x="8495714" y="3525402"/>
            <a:ext cx="3060000" cy="24523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E7CA2D6-FA32-8A60-F1FC-AABDAE4D5D2E}"/>
              </a:ext>
            </a:extLst>
          </p:cNvPr>
          <p:cNvSpPr txBox="1"/>
          <p:nvPr/>
        </p:nvSpPr>
        <p:spPr>
          <a:xfrm>
            <a:off x="457773" y="3717279"/>
            <a:ext cx="32672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/>
              <a:t>Linear trend from satellite observatio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FA09E29-F007-06AF-A908-4E8A00CB6EC2}"/>
              </a:ext>
            </a:extLst>
          </p:cNvPr>
          <p:cNvSpPr txBox="1"/>
          <p:nvPr/>
        </p:nvSpPr>
        <p:spPr>
          <a:xfrm>
            <a:off x="8304507" y="3735866"/>
            <a:ext cx="32672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/>
              <a:t>Linear trend from satellite observations</a:t>
            </a:r>
          </a:p>
        </p:txBody>
      </p:sp>
    </p:spTree>
    <p:extLst>
      <p:ext uri="{BB962C8B-B14F-4D97-AF65-F5344CB8AC3E}">
        <p14:creationId xmlns:p14="http://schemas.microsoft.com/office/powerpoint/2010/main" val="2192514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7996"/>
    </mc:Choice>
    <mc:Fallback xmlns="">
      <p:transition spd="slow" advTm="87996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Sea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during </a:t>
            </a:r>
            <a:r>
              <a:rPr lang="nb-NO" sz="1800" dirty="0" err="1"/>
              <a:t>the</a:t>
            </a:r>
            <a:r>
              <a:rPr lang="nb-NO" sz="1800" dirty="0"/>
              <a:t> </a:t>
            </a:r>
            <a:r>
              <a:rPr lang="nb-NO" sz="1800" dirty="0" err="1"/>
              <a:t>satellite</a:t>
            </a:r>
            <a:r>
              <a:rPr lang="nb-NO" sz="1800" dirty="0"/>
              <a:t> </a:t>
            </a:r>
            <a:r>
              <a:rPr lang="nb-NO" sz="1800" dirty="0" err="1"/>
              <a:t>altimetry</a:t>
            </a:r>
            <a:r>
              <a:rPr lang="nb-NO" sz="1800" dirty="0"/>
              <a:t> </a:t>
            </a:r>
            <a:r>
              <a:rPr lang="nb-NO" sz="1800" dirty="0" err="1"/>
              <a:t>era</a:t>
            </a:r>
            <a:r>
              <a:rPr lang="nb-NO" sz="1800" dirty="0"/>
              <a:t> (1993–present) – North Pacific 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  <p:pic>
        <p:nvPicPr>
          <p:cNvPr id="13" name="Picture 12" descr="Chart&#10;&#10;Description automatically generated">
            <a:extLst>
              <a:ext uri="{FF2B5EF4-FFF2-40B4-BE49-F238E27FC236}">
                <a16:creationId xmlns:a16="http://schemas.microsoft.com/office/drawing/2014/main" id="{B0871E6B-BDA4-8679-2A2E-1307C41A8D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667"/>
          <a:stretch/>
        </p:blipFill>
        <p:spPr>
          <a:xfrm>
            <a:off x="881416" y="1408385"/>
            <a:ext cx="4249992" cy="3125515"/>
          </a:xfrm>
          <a:prstGeom prst="rect">
            <a:avLst/>
          </a:prstGeom>
        </p:spPr>
      </p:pic>
      <p:pic>
        <p:nvPicPr>
          <p:cNvPr id="15" name="Picture 14" descr="Chart&#10;&#10;Description automatically generated">
            <a:extLst>
              <a:ext uri="{FF2B5EF4-FFF2-40B4-BE49-F238E27FC236}">
                <a16:creationId xmlns:a16="http://schemas.microsoft.com/office/drawing/2014/main" id="{ED46C83C-9178-B280-60AE-EEFF31E7DF9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3027"/>
          <a:stretch/>
        </p:blipFill>
        <p:spPr>
          <a:xfrm>
            <a:off x="6628644" y="1392923"/>
            <a:ext cx="4347607" cy="2816016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DCA94750-145F-D70D-2D9B-C93BF6AECC74}"/>
              </a:ext>
            </a:extLst>
          </p:cNvPr>
          <p:cNvSpPr/>
          <p:nvPr/>
        </p:nvSpPr>
        <p:spPr>
          <a:xfrm>
            <a:off x="3502548" y="1752599"/>
            <a:ext cx="574152" cy="918341"/>
          </a:xfrm>
          <a:prstGeom prst="ellipse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4CF7954-B4CC-3D39-9AE8-F9CE1CA740DC}"/>
              </a:ext>
            </a:extLst>
          </p:cNvPr>
          <p:cNvSpPr/>
          <p:nvPr/>
        </p:nvSpPr>
        <p:spPr>
          <a:xfrm>
            <a:off x="1431159" y="2311400"/>
            <a:ext cx="574152" cy="6985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E68F88-D597-AE7B-80A5-70E469DC937B}"/>
              </a:ext>
            </a:extLst>
          </p:cNvPr>
          <p:cNvSpPr txBox="1"/>
          <p:nvPr/>
        </p:nvSpPr>
        <p:spPr>
          <a:xfrm>
            <a:off x="589315" y="4858677"/>
            <a:ext cx="1021838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R</a:t>
            </a:r>
            <a:r>
              <a:rPr lang="en-NO" dirty="0"/>
              <a:t>egional trends strongly influenced by atmospheric-driven ocean circulation variability</a:t>
            </a:r>
          </a:p>
          <a:p>
            <a:r>
              <a:rPr lang="en-NO" sz="500" dirty="0"/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dirty="0">
                <a:solidFill>
                  <a:srgbClr val="C00000"/>
                </a:solidFill>
              </a:rPr>
              <a:t>complicates detection and quantification of anthropogenic signals</a:t>
            </a:r>
          </a:p>
          <a:p>
            <a:r>
              <a:rPr lang="en-NO" sz="500" dirty="0">
                <a:solidFill>
                  <a:srgbClr val="C00000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dirty="0">
                <a:solidFill>
                  <a:srgbClr val="C00000"/>
                </a:solidFill>
              </a:rPr>
              <a:t>complicates ESM evaluation because simulated variability not in phase with observ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9B20D80-8893-62FD-CCB4-7E82113B08F9}"/>
              </a:ext>
            </a:extLst>
          </p:cNvPr>
          <p:cNvSpPr txBox="1"/>
          <p:nvPr/>
        </p:nvSpPr>
        <p:spPr>
          <a:xfrm>
            <a:off x="8577340" y="4263478"/>
            <a:ext cx="2261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/>
              <a:t>Bromirski et al. 2011, JGR</a:t>
            </a:r>
          </a:p>
        </p:txBody>
      </p:sp>
    </p:spTree>
    <p:extLst>
      <p:ext uri="{BB962C8B-B14F-4D97-AF65-F5344CB8AC3E}">
        <p14:creationId xmlns:p14="http://schemas.microsoft.com/office/powerpoint/2010/main" val="1340770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7996"/>
    </mc:Choice>
    <mc:Fallback xmlns="">
      <p:transition spd="slow" advTm="87996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D8A0654-0D45-53C9-8ACF-6FD65B63575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186322" y="2036960"/>
            <a:ext cx="3627120" cy="18084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BB95A6C-E529-2A35-6462-D4A0A91CFE7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204910" y="3928951"/>
            <a:ext cx="3627120" cy="180848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93D258F-D5A8-AA25-DFB2-3A16059FD7D0}"/>
              </a:ext>
            </a:extLst>
          </p:cNvPr>
          <p:cNvSpPr txBox="1"/>
          <p:nvPr/>
        </p:nvSpPr>
        <p:spPr>
          <a:xfrm>
            <a:off x="8292171" y="5804521"/>
            <a:ext cx="35461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600"/>
              <a:t>Full-field and anomalies for Jan 1993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2392A97-3DA3-0291-A5F4-97175A93233E}"/>
              </a:ext>
            </a:extLst>
          </p:cNvPr>
          <p:cNvSpPr txBox="1">
            <a:spLocks/>
          </p:cNvSpPr>
          <p:nvPr/>
        </p:nvSpPr>
        <p:spPr>
          <a:xfrm>
            <a:off x="533400" y="720000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Char char="›"/>
              <a:defRPr sz="16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1pPr>
            <a:lvl2pPr marL="355600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2pPr>
            <a:lvl3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2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NO" sz="1800" dirty="0">
                <a:solidFill>
                  <a:schemeClr val="tx1"/>
                </a:solidFill>
              </a:rPr>
              <a:t>Questions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How much of the observed regional sea level change is externally forced, how much is internal variability?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Do regional changes (non-atmospheric driven) follow the global trend? Any regions with larger trends?</a:t>
            </a:r>
            <a:endParaRPr lang="en-GB" sz="10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Are current ESMs fit to realistically simulate regional sea level changes?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Is their ocean representation (missing meso-scale eddies, biases etc)                                                            or their atmosphere representation most limiting? </a:t>
            </a:r>
          </a:p>
          <a:p>
            <a:pPr marL="0" indent="0">
              <a:buFont typeface="Arial" pitchFamily="34" charset="0"/>
              <a:buNone/>
            </a:pPr>
            <a:endParaRPr lang="en-GB" sz="500" dirty="0">
              <a:solidFill>
                <a:schemeClr val="tx1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en-NO" sz="1800" dirty="0">
              <a:solidFill>
                <a:schemeClr val="tx1"/>
              </a:solidFill>
            </a:endParaRPr>
          </a:p>
          <a:p>
            <a:pPr marL="180975" lvl="1" indent="0">
              <a:buFont typeface="Arial" pitchFamily="34" charset="0"/>
              <a:buNone/>
            </a:pPr>
            <a:r>
              <a:rPr lang="en-GB" sz="500" dirty="0">
                <a:solidFill>
                  <a:schemeClr val="tx1"/>
                </a:solidFill>
              </a:rPr>
              <a:t> </a:t>
            </a:r>
          </a:p>
          <a:p>
            <a:pPr marL="0" indent="0">
              <a:buFont typeface="Arial" pitchFamily="34" charset="0"/>
              <a:buNone/>
            </a:pPr>
            <a:endParaRPr lang="en-NO" sz="1800" dirty="0">
              <a:solidFill>
                <a:schemeClr val="tx1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en-NO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005506-C3AA-D417-FD19-E94C7FAF1348}"/>
              </a:ext>
            </a:extLst>
          </p:cNvPr>
          <p:cNvSpPr txBox="1"/>
          <p:nvPr/>
        </p:nvSpPr>
        <p:spPr>
          <a:xfrm>
            <a:off x="8211722" y="6120479"/>
            <a:ext cx="3722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OBS: ARMOR3D (</a:t>
            </a:r>
            <a:r>
              <a:rPr lang="en-GB" sz="1200" dirty="0" err="1"/>
              <a:t>Guinehut</a:t>
            </a:r>
            <a:r>
              <a:rPr lang="en-GB" sz="1200" dirty="0"/>
              <a:t> et al. 2012, Ocean Sci.)</a:t>
            </a:r>
          </a:p>
        </p:txBody>
      </p:sp>
    </p:spTree>
    <p:extLst>
      <p:ext uri="{BB962C8B-B14F-4D97-AF65-F5344CB8AC3E}">
        <p14:creationId xmlns:p14="http://schemas.microsoft.com/office/powerpoint/2010/main" val="53543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1953"/>
    </mc:Choice>
    <mc:Fallback xmlns="">
      <p:transition spd="slow" advTm="111953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DF1105-EAF6-451B-5AE8-32DA69F9C5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3587562"/>
            <a:ext cx="6844862" cy="29715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NO" sz="1800" dirty="0">
                <a:solidFill>
                  <a:schemeClr val="tx1"/>
                </a:solidFill>
              </a:rPr>
              <a:t>Approach </a:t>
            </a:r>
          </a:p>
          <a:p>
            <a:pPr marL="180975" lvl="1" indent="0">
              <a:buNone/>
            </a:pPr>
            <a:r>
              <a:rPr lang="en-GB" sz="500" dirty="0">
                <a:solidFill>
                  <a:schemeClr val="tx1"/>
                </a:solidFill>
              </a:rPr>
              <a:t>   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Dedicated ESM experiments with synchronised internal variability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Allows direct comparison of simulated vs observed variability 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Allows isolation of (non) atmospheric-driven change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Independent estimate that can be compared to statistical methods (fingerprints, regression, analogues/particle filter) </a:t>
            </a:r>
            <a:endParaRPr lang="en-NO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E702F7-C5F4-7D04-594F-7D7BAE0F633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186322" y="2036960"/>
            <a:ext cx="3627120" cy="18084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4888F5D-B21D-6F27-4962-1AF60F94059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204910" y="3928951"/>
            <a:ext cx="3627120" cy="180848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F6D50D2-F87B-D5C2-EA1D-CD17D8DA1333}"/>
              </a:ext>
            </a:extLst>
          </p:cNvPr>
          <p:cNvSpPr txBox="1"/>
          <p:nvPr/>
        </p:nvSpPr>
        <p:spPr>
          <a:xfrm>
            <a:off x="8292171" y="5804521"/>
            <a:ext cx="35461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600"/>
              <a:t>Full-field and anomalies for Jan 199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48DE92C-E67C-0A53-0F56-F884CF5DBA61}"/>
              </a:ext>
            </a:extLst>
          </p:cNvPr>
          <p:cNvSpPr txBox="1"/>
          <p:nvPr/>
        </p:nvSpPr>
        <p:spPr>
          <a:xfrm>
            <a:off x="8211722" y="6120479"/>
            <a:ext cx="3722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OBS: ARMOR3D (</a:t>
            </a:r>
            <a:r>
              <a:rPr lang="en-GB" sz="1200" dirty="0" err="1"/>
              <a:t>Guinehut</a:t>
            </a:r>
            <a:r>
              <a:rPr lang="en-GB" sz="1200" dirty="0"/>
              <a:t> et al. 2012, Ocean Sci.)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27B9243-DAE3-EA9F-B415-D0622649E3CE}"/>
              </a:ext>
            </a:extLst>
          </p:cNvPr>
          <p:cNvSpPr txBox="1">
            <a:spLocks/>
          </p:cNvSpPr>
          <p:nvPr/>
        </p:nvSpPr>
        <p:spPr>
          <a:xfrm>
            <a:off x="533400" y="720001"/>
            <a:ext cx="10938691" cy="26678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Char char="›"/>
              <a:defRPr sz="16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1pPr>
            <a:lvl2pPr marL="355600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2pPr>
            <a:lvl3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2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NO" sz="1800" dirty="0">
                <a:solidFill>
                  <a:schemeClr val="tx1"/>
                </a:solidFill>
              </a:rPr>
              <a:t>Questions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How much of the observed regional sea level change is externally forced, how much is internal variability?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Do regional changes (non-atmospheric driven) follow the global trend? Any regions with larger trends?</a:t>
            </a:r>
            <a:endParaRPr lang="en-GB" sz="10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Are current ESMs fit to realistically simulate regional sea level changes?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Is their ocean representation (missing meso-scale eddies, biases etc)                                                            or their atmosphere representation most limiting? </a:t>
            </a:r>
          </a:p>
          <a:p>
            <a:pPr marL="0" indent="0">
              <a:buFont typeface="Arial" pitchFamily="34" charset="0"/>
              <a:buNone/>
            </a:pPr>
            <a:endParaRPr lang="en-GB" sz="500" dirty="0">
              <a:solidFill>
                <a:schemeClr val="tx1"/>
              </a:solidFill>
            </a:endParaRPr>
          </a:p>
          <a:p>
            <a:pPr marL="180975" lvl="1" indent="0">
              <a:buFont typeface="Arial" pitchFamily="34" charset="0"/>
              <a:buNone/>
            </a:pPr>
            <a:endParaRPr lang="en-GB" sz="500" dirty="0">
              <a:solidFill>
                <a:schemeClr val="tx1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en-NO" sz="1800" dirty="0">
              <a:solidFill>
                <a:schemeClr val="tx1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119101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1953"/>
    </mc:Choice>
    <mc:Fallback xmlns="">
      <p:transition spd="slow" advTm="111953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Experiments </a:t>
            </a:r>
            <a:r>
              <a:rPr lang="nb-NO" sz="1800" dirty="0" err="1"/>
              <a:t>with</a:t>
            </a:r>
            <a:r>
              <a:rPr lang="nb-NO" sz="1800" dirty="0"/>
              <a:t> </a:t>
            </a:r>
            <a:r>
              <a:rPr lang="nb-NO" sz="1800" dirty="0" err="1"/>
              <a:t>the</a:t>
            </a:r>
            <a:r>
              <a:rPr lang="nb-NO" sz="1800" dirty="0"/>
              <a:t> Norwegian Earth System Model (NorESM1, Bentsen et al. 2012)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7</a:t>
            </a:fld>
            <a:endParaRPr lang="nb-NO"/>
          </a:p>
        </p:txBody>
      </p:sp>
      <p:sp>
        <p:nvSpPr>
          <p:cNvPr id="15" name="Plassholder for innhold 3">
            <a:extLst>
              <a:ext uri="{FF2B5EF4-FFF2-40B4-BE49-F238E27FC236}">
                <a16:creationId xmlns:a16="http://schemas.microsoft.com/office/drawing/2014/main" id="{E07C0CF2-6B0B-F95E-5655-7CFD8E6EF534}"/>
              </a:ext>
            </a:extLst>
          </p:cNvPr>
          <p:cNvSpPr txBox="1">
            <a:spLocks/>
          </p:cNvSpPr>
          <p:nvPr/>
        </p:nvSpPr>
        <p:spPr>
          <a:xfrm>
            <a:off x="533400" y="1440000"/>
            <a:ext cx="5589270" cy="207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Char char="›"/>
              <a:defRPr sz="16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1pPr>
            <a:lvl2pPr marL="355600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2pPr>
            <a:lvl3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2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b-NO" sz="1800" dirty="0">
                <a:solidFill>
                  <a:srgbClr val="0070C0"/>
                </a:solidFill>
              </a:rPr>
              <a:t>FREE (30-member ensemble)</a:t>
            </a:r>
            <a:endParaRPr lang="nb-NO" sz="1600" dirty="0">
              <a:solidFill>
                <a:srgbClr val="0070C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rgbClr val="0070C0"/>
                </a:solidFill>
              </a:rPr>
              <a:t>1850–2100, CMIP5 </a:t>
            </a:r>
            <a:r>
              <a:rPr lang="nb-NO" sz="1600" dirty="0" err="1">
                <a:solidFill>
                  <a:srgbClr val="0070C0"/>
                </a:solidFill>
              </a:rPr>
              <a:t>historical</a:t>
            </a:r>
            <a:r>
              <a:rPr lang="nb-NO" sz="1600" dirty="0">
                <a:solidFill>
                  <a:srgbClr val="0070C0"/>
                </a:solidFill>
              </a:rPr>
              <a:t> forcings (RCP8.5 </a:t>
            </a:r>
            <a:r>
              <a:rPr lang="nb-NO" sz="1600" dirty="0" err="1">
                <a:solidFill>
                  <a:srgbClr val="0070C0"/>
                </a:solidFill>
              </a:rPr>
              <a:t>after</a:t>
            </a:r>
            <a:r>
              <a:rPr lang="nb-NO" sz="1600" dirty="0">
                <a:solidFill>
                  <a:srgbClr val="0070C0"/>
                </a:solidFill>
              </a:rPr>
              <a:t> 2005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rgbClr val="0070C0"/>
                </a:solidFill>
              </a:rPr>
              <a:t>initial </a:t>
            </a:r>
            <a:r>
              <a:rPr lang="nb-NO" sz="1600" dirty="0" err="1">
                <a:solidFill>
                  <a:srgbClr val="0070C0"/>
                </a:solidFill>
              </a:rPr>
              <a:t>conditions</a:t>
            </a:r>
            <a:r>
              <a:rPr lang="nb-NO" sz="1600" dirty="0">
                <a:solidFill>
                  <a:srgbClr val="0070C0"/>
                </a:solidFill>
              </a:rPr>
              <a:t> from preindustrial </a:t>
            </a:r>
            <a:r>
              <a:rPr lang="nb-NO" sz="1600" dirty="0" err="1">
                <a:solidFill>
                  <a:srgbClr val="0070C0"/>
                </a:solidFill>
              </a:rPr>
              <a:t>control</a:t>
            </a:r>
            <a:r>
              <a:rPr lang="nb-NO" sz="1600" dirty="0">
                <a:solidFill>
                  <a:srgbClr val="0070C0"/>
                </a:solidFill>
              </a:rPr>
              <a:t> + </a:t>
            </a:r>
            <a:r>
              <a:rPr lang="nb-NO" sz="1600" dirty="0" err="1">
                <a:solidFill>
                  <a:srgbClr val="0070C0"/>
                </a:solidFill>
              </a:rPr>
              <a:t>perturbation</a:t>
            </a:r>
            <a:endParaRPr lang="nb-NO" sz="1600" dirty="0">
              <a:solidFill>
                <a:srgbClr val="0070C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0070C0"/>
                </a:solidFill>
              </a:rPr>
              <a:t>single </a:t>
            </a:r>
            <a:r>
              <a:rPr lang="nb-NO" dirty="0" err="1">
                <a:solidFill>
                  <a:srgbClr val="0070C0"/>
                </a:solidFill>
              </a:rPr>
              <a:t>member</a:t>
            </a:r>
            <a:r>
              <a:rPr lang="nb-NO" dirty="0">
                <a:solidFill>
                  <a:srgbClr val="0070C0"/>
                </a:solidFill>
              </a:rPr>
              <a:t> = </a:t>
            </a:r>
            <a:r>
              <a:rPr lang="nb-NO" dirty="0" err="1">
                <a:solidFill>
                  <a:srgbClr val="0070C0"/>
                </a:solidFill>
              </a:rPr>
              <a:t>forced</a:t>
            </a:r>
            <a:r>
              <a:rPr lang="nb-NO" dirty="0">
                <a:solidFill>
                  <a:srgbClr val="0070C0"/>
                </a:solidFill>
              </a:rPr>
              <a:t> signal + random </a:t>
            </a:r>
            <a:r>
              <a:rPr lang="nb-NO" dirty="0" err="1">
                <a:solidFill>
                  <a:srgbClr val="0070C0"/>
                </a:solidFill>
              </a:rPr>
              <a:t>internal</a:t>
            </a:r>
            <a:r>
              <a:rPr lang="nb-NO" dirty="0">
                <a:solidFill>
                  <a:srgbClr val="0070C0"/>
                </a:solidFill>
              </a:rPr>
              <a:t> </a:t>
            </a:r>
            <a:r>
              <a:rPr lang="nb-NO" dirty="0" err="1">
                <a:solidFill>
                  <a:srgbClr val="0070C0"/>
                </a:solidFill>
              </a:rPr>
              <a:t>variability</a:t>
            </a:r>
            <a:r>
              <a:rPr lang="nb-NO" dirty="0">
                <a:solidFill>
                  <a:srgbClr val="0070C0"/>
                </a:solidFill>
              </a:rPr>
              <a:t>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0070C0"/>
                </a:solidFill>
              </a:rPr>
              <a:t>ensemble </a:t>
            </a:r>
            <a:r>
              <a:rPr lang="nb-NO" dirty="0" err="1">
                <a:solidFill>
                  <a:srgbClr val="0070C0"/>
                </a:solidFill>
              </a:rPr>
              <a:t>mean</a:t>
            </a:r>
            <a:r>
              <a:rPr lang="nb-NO" dirty="0">
                <a:solidFill>
                  <a:srgbClr val="0070C0"/>
                </a:solidFill>
              </a:rPr>
              <a:t> = </a:t>
            </a:r>
            <a:r>
              <a:rPr lang="nb-NO" dirty="0" err="1">
                <a:solidFill>
                  <a:srgbClr val="0070C0"/>
                </a:solidFill>
              </a:rPr>
              <a:t>estimate</a:t>
            </a:r>
            <a:r>
              <a:rPr lang="nb-NO" dirty="0">
                <a:solidFill>
                  <a:srgbClr val="0070C0"/>
                </a:solidFill>
              </a:rPr>
              <a:t> </a:t>
            </a:r>
            <a:r>
              <a:rPr lang="nb-NO" dirty="0" err="1">
                <a:solidFill>
                  <a:srgbClr val="0070C0"/>
                </a:solidFill>
              </a:rPr>
              <a:t>of</a:t>
            </a:r>
            <a:r>
              <a:rPr lang="nb-NO" dirty="0">
                <a:solidFill>
                  <a:srgbClr val="0070C0"/>
                </a:solidFill>
              </a:rPr>
              <a:t> </a:t>
            </a:r>
            <a:r>
              <a:rPr lang="nb-NO" dirty="0" err="1">
                <a:solidFill>
                  <a:srgbClr val="0070C0"/>
                </a:solidFill>
              </a:rPr>
              <a:t>forced</a:t>
            </a:r>
            <a:r>
              <a:rPr lang="nb-NO" dirty="0">
                <a:solidFill>
                  <a:srgbClr val="0070C0"/>
                </a:solidFill>
              </a:rPr>
              <a:t> signal</a:t>
            </a:r>
          </a:p>
          <a:p>
            <a:pPr>
              <a:buFont typeface="Wingdings" pitchFamily="2" charset="2"/>
              <a:buChar char="Ø"/>
            </a:pPr>
            <a:endParaRPr lang="nb-NO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Ø"/>
            </a:pPr>
            <a:endParaRPr lang="nb-NO" dirty="0">
              <a:solidFill>
                <a:srgbClr val="0070C0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BF7FFC5-4CDD-05FB-6D37-7BF0CB8647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95626" y="3369600"/>
            <a:ext cx="5537200" cy="240792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1EC3A6D-8304-8D20-02DA-45EA6ADF782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143046" y="3369600"/>
            <a:ext cx="5542280" cy="240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2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2665"/>
    </mc:Choice>
    <mc:Fallback xmlns="">
      <p:transition spd="slow" advTm="172665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Experiments </a:t>
            </a:r>
            <a:r>
              <a:rPr lang="nb-NO" sz="1800" dirty="0" err="1"/>
              <a:t>with</a:t>
            </a:r>
            <a:r>
              <a:rPr lang="nb-NO" sz="1800" dirty="0"/>
              <a:t> </a:t>
            </a:r>
            <a:r>
              <a:rPr lang="nb-NO" sz="1800" dirty="0" err="1"/>
              <a:t>the</a:t>
            </a:r>
            <a:r>
              <a:rPr lang="nb-NO" sz="1800" dirty="0"/>
              <a:t> Norwegian Earth System Model (NorESM1, Bentsen et al. 2012)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8</a:t>
            </a:fld>
            <a:endParaRPr lang="nb-NO"/>
          </a:p>
        </p:txBody>
      </p:sp>
      <p:sp>
        <p:nvSpPr>
          <p:cNvPr id="15" name="Plassholder for innhold 3">
            <a:extLst>
              <a:ext uri="{FF2B5EF4-FFF2-40B4-BE49-F238E27FC236}">
                <a16:creationId xmlns:a16="http://schemas.microsoft.com/office/drawing/2014/main" id="{E07C0CF2-6B0B-F95E-5655-7CFD8E6EF534}"/>
              </a:ext>
            </a:extLst>
          </p:cNvPr>
          <p:cNvSpPr txBox="1">
            <a:spLocks/>
          </p:cNvSpPr>
          <p:nvPr/>
        </p:nvSpPr>
        <p:spPr>
          <a:xfrm>
            <a:off x="533400" y="1440000"/>
            <a:ext cx="5589270" cy="207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Char char="›"/>
              <a:defRPr sz="16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1pPr>
            <a:lvl2pPr marL="355600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2pPr>
            <a:lvl3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2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b-NO" sz="1800" dirty="0">
                <a:solidFill>
                  <a:srgbClr val="0070C0"/>
                </a:solidFill>
              </a:rPr>
              <a:t>FREE (30-member ensemble)</a:t>
            </a:r>
            <a:endParaRPr lang="nb-NO" sz="1600" dirty="0">
              <a:solidFill>
                <a:srgbClr val="0070C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rgbClr val="0070C0"/>
                </a:solidFill>
              </a:rPr>
              <a:t>1850–2100, CMIP5 </a:t>
            </a:r>
            <a:r>
              <a:rPr lang="nb-NO" sz="1600" dirty="0" err="1">
                <a:solidFill>
                  <a:srgbClr val="0070C0"/>
                </a:solidFill>
              </a:rPr>
              <a:t>historical</a:t>
            </a:r>
            <a:r>
              <a:rPr lang="nb-NO" sz="1600" dirty="0">
                <a:solidFill>
                  <a:srgbClr val="0070C0"/>
                </a:solidFill>
              </a:rPr>
              <a:t> forcings (RCP8.5 </a:t>
            </a:r>
            <a:r>
              <a:rPr lang="nb-NO" sz="1600" dirty="0" err="1">
                <a:solidFill>
                  <a:srgbClr val="0070C0"/>
                </a:solidFill>
              </a:rPr>
              <a:t>after</a:t>
            </a:r>
            <a:r>
              <a:rPr lang="nb-NO" sz="1600" dirty="0">
                <a:solidFill>
                  <a:srgbClr val="0070C0"/>
                </a:solidFill>
              </a:rPr>
              <a:t> 2005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rgbClr val="0070C0"/>
                </a:solidFill>
              </a:rPr>
              <a:t>initial </a:t>
            </a:r>
            <a:r>
              <a:rPr lang="nb-NO" sz="1600" dirty="0" err="1">
                <a:solidFill>
                  <a:srgbClr val="0070C0"/>
                </a:solidFill>
              </a:rPr>
              <a:t>conditions</a:t>
            </a:r>
            <a:r>
              <a:rPr lang="nb-NO" sz="1600" dirty="0">
                <a:solidFill>
                  <a:srgbClr val="0070C0"/>
                </a:solidFill>
              </a:rPr>
              <a:t> from preindustrial </a:t>
            </a:r>
            <a:r>
              <a:rPr lang="nb-NO" sz="1600" dirty="0" err="1">
                <a:solidFill>
                  <a:srgbClr val="0070C0"/>
                </a:solidFill>
              </a:rPr>
              <a:t>control</a:t>
            </a:r>
            <a:r>
              <a:rPr lang="nb-NO" sz="1600" dirty="0">
                <a:solidFill>
                  <a:srgbClr val="0070C0"/>
                </a:solidFill>
              </a:rPr>
              <a:t> + </a:t>
            </a:r>
            <a:r>
              <a:rPr lang="nb-NO" sz="1600" dirty="0" err="1">
                <a:solidFill>
                  <a:srgbClr val="0070C0"/>
                </a:solidFill>
              </a:rPr>
              <a:t>perturbation</a:t>
            </a:r>
            <a:endParaRPr lang="nb-NO" sz="1600" dirty="0">
              <a:solidFill>
                <a:srgbClr val="0070C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0070C0"/>
                </a:solidFill>
              </a:rPr>
              <a:t>single </a:t>
            </a:r>
            <a:r>
              <a:rPr lang="nb-NO" dirty="0" err="1">
                <a:solidFill>
                  <a:srgbClr val="0070C0"/>
                </a:solidFill>
              </a:rPr>
              <a:t>member</a:t>
            </a:r>
            <a:r>
              <a:rPr lang="nb-NO" dirty="0">
                <a:solidFill>
                  <a:srgbClr val="0070C0"/>
                </a:solidFill>
              </a:rPr>
              <a:t> = </a:t>
            </a:r>
            <a:r>
              <a:rPr lang="nb-NO" dirty="0" err="1">
                <a:solidFill>
                  <a:srgbClr val="0070C0"/>
                </a:solidFill>
              </a:rPr>
              <a:t>forced</a:t>
            </a:r>
            <a:r>
              <a:rPr lang="nb-NO" dirty="0">
                <a:solidFill>
                  <a:srgbClr val="0070C0"/>
                </a:solidFill>
              </a:rPr>
              <a:t> signal + random </a:t>
            </a:r>
            <a:r>
              <a:rPr lang="nb-NO" dirty="0" err="1">
                <a:solidFill>
                  <a:srgbClr val="0070C0"/>
                </a:solidFill>
              </a:rPr>
              <a:t>internal</a:t>
            </a:r>
            <a:r>
              <a:rPr lang="nb-NO" dirty="0">
                <a:solidFill>
                  <a:srgbClr val="0070C0"/>
                </a:solidFill>
              </a:rPr>
              <a:t> </a:t>
            </a:r>
            <a:r>
              <a:rPr lang="nb-NO" dirty="0" err="1">
                <a:solidFill>
                  <a:srgbClr val="0070C0"/>
                </a:solidFill>
              </a:rPr>
              <a:t>variability</a:t>
            </a:r>
            <a:r>
              <a:rPr lang="nb-NO" dirty="0">
                <a:solidFill>
                  <a:srgbClr val="0070C0"/>
                </a:solidFill>
              </a:rPr>
              <a:t>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0070C0"/>
                </a:solidFill>
              </a:rPr>
              <a:t>ensemble </a:t>
            </a:r>
            <a:r>
              <a:rPr lang="nb-NO" dirty="0" err="1">
                <a:solidFill>
                  <a:srgbClr val="0070C0"/>
                </a:solidFill>
              </a:rPr>
              <a:t>mean</a:t>
            </a:r>
            <a:r>
              <a:rPr lang="nb-NO" dirty="0">
                <a:solidFill>
                  <a:srgbClr val="0070C0"/>
                </a:solidFill>
              </a:rPr>
              <a:t> = </a:t>
            </a:r>
            <a:r>
              <a:rPr lang="nb-NO" dirty="0" err="1">
                <a:solidFill>
                  <a:srgbClr val="0070C0"/>
                </a:solidFill>
              </a:rPr>
              <a:t>estimate</a:t>
            </a:r>
            <a:r>
              <a:rPr lang="nb-NO" dirty="0">
                <a:solidFill>
                  <a:srgbClr val="0070C0"/>
                </a:solidFill>
              </a:rPr>
              <a:t> </a:t>
            </a:r>
            <a:r>
              <a:rPr lang="nb-NO" dirty="0" err="1">
                <a:solidFill>
                  <a:srgbClr val="0070C0"/>
                </a:solidFill>
              </a:rPr>
              <a:t>of</a:t>
            </a:r>
            <a:r>
              <a:rPr lang="nb-NO" dirty="0">
                <a:solidFill>
                  <a:srgbClr val="0070C0"/>
                </a:solidFill>
              </a:rPr>
              <a:t> </a:t>
            </a:r>
            <a:r>
              <a:rPr lang="nb-NO" dirty="0" err="1">
                <a:solidFill>
                  <a:srgbClr val="0070C0"/>
                </a:solidFill>
              </a:rPr>
              <a:t>forced</a:t>
            </a:r>
            <a:r>
              <a:rPr lang="nb-NO" dirty="0">
                <a:solidFill>
                  <a:srgbClr val="0070C0"/>
                </a:solidFill>
              </a:rPr>
              <a:t> signal</a:t>
            </a:r>
          </a:p>
          <a:p>
            <a:pPr>
              <a:buFont typeface="Wingdings" pitchFamily="2" charset="2"/>
              <a:buChar char="Ø"/>
            </a:pPr>
            <a:endParaRPr lang="nb-NO" dirty="0">
              <a:solidFill>
                <a:srgbClr val="0070C0"/>
              </a:solidFill>
            </a:endParaRPr>
          </a:p>
          <a:p>
            <a:pPr>
              <a:buFont typeface="Wingdings" pitchFamily="2" charset="2"/>
              <a:buChar char="Ø"/>
            </a:pPr>
            <a:endParaRPr lang="nb-NO" dirty="0">
              <a:solidFill>
                <a:srgbClr val="0070C0"/>
              </a:solidFill>
            </a:endParaRPr>
          </a:p>
        </p:txBody>
      </p:sp>
      <p:sp>
        <p:nvSpPr>
          <p:cNvPr id="16" name="Plassholder for innhold 3">
            <a:extLst>
              <a:ext uri="{FF2B5EF4-FFF2-40B4-BE49-F238E27FC236}">
                <a16:creationId xmlns:a16="http://schemas.microsoft.com/office/drawing/2014/main" id="{60AAB3AB-F17C-12FA-2DF7-8E2547A40C88}"/>
              </a:ext>
            </a:extLst>
          </p:cNvPr>
          <p:cNvSpPr txBox="1">
            <a:spLocks/>
          </p:cNvSpPr>
          <p:nvPr/>
        </p:nvSpPr>
        <p:spPr>
          <a:xfrm>
            <a:off x="6328754" y="1440000"/>
            <a:ext cx="5683133" cy="207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Char char="›"/>
              <a:defRPr sz="16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1pPr>
            <a:lvl2pPr marL="355600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2pPr>
            <a:lvl3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2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b-NO" sz="1800" dirty="0">
                <a:solidFill>
                  <a:srgbClr val="C00000"/>
                </a:solidFill>
              </a:rPr>
              <a:t>NUDGED (single </a:t>
            </a:r>
            <a:r>
              <a:rPr lang="nb-NO" sz="1800" dirty="0" err="1">
                <a:solidFill>
                  <a:srgbClr val="C00000"/>
                </a:solidFill>
              </a:rPr>
              <a:t>simulation</a:t>
            </a:r>
            <a:r>
              <a:rPr lang="nb-NO" sz="1800" dirty="0">
                <a:solidFill>
                  <a:srgbClr val="C00000"/>
                </a:solidFill>
              </a:rPr>
              <a:t>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rgbClr val="C00000"/>
                </a:solidFill>
              </a:rPr>
              <a:t>1970–2018, </a:t>
            </a:r>
            <a:r>
              <a:rPr lang="nb-NO" sz="1600" dirty="0" err="1">
                <a:solidFill>
                  <a:srgbClr val="C00000"/>
                </a:solidFill>
              </a:rPr>
              <a:t>initialized</a:t>
            </a:r>
            <a:r>
              <a:rPr lang="nb-NO" sz="1600" dirty="0">
                <a:solidFill>
                  <a:srgbClr val="C00000"/>
                </a:solidFill>
              </a:rPr>
              <a:t> from FREE, same </a:t>
            </a:r>
            <a:r>
              <a:rPr lang="nb-NO" sz="1600" dirty="0" err="1">
                <a:solidFill>
                  <a:srgbClr val="C00000"/>
                </a:solidFill>
              </a:rPr>
              <a:t>external</a:t>
            </a:r>
            <a:r>
              <a:rPr lang="nb-NO" sz="1600" dirty="0">
                <a:solidFill>
                  <a:srgbClr val="C00000"/>
                </a:solidFill>
              </a:rPr>
              <a:t> forcing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600" b="1" dirty="0" err="1">
                <a:solidFill>
                  <a:srgbClr val="C00000"/>
                </a:solidFill>
              </a:rPr>
              <a:t>atmospheric</a:t>
            </a:r>
            <a:r>
              <a:rPr lang="nb-NO" sz="1600" b="1" dirty="0">
                <a:solidFill>
                  <a:srgbClr val="C00000"/>
                </a:solidFill>
              </a:rPr>
              <a:t> </a:t>
            </a:r>
            <a:r>
              <a:rPr lang="nb-NO" sz="1600" b="1" dirty="0" err="1">
                <a:solidFill>
                  <a:srgbClr val="C00000"/>
                </a:solidFill>
              </a:rPr>
              <a:t>winds</a:t>
            </a:r>
            <a:r>
              <a:rPr lang="nb-NO" sz="1600" b="1" dirty="0">
                <a:solidFill>
                  <a:srgbClr val="C00000"/>
                </a:solidFill>
              </a:rPr>
              <a:t> </a:t>
            </a:r>
            <a:r>
              <a:rPr lang="nb-NO" sz="1600" b="1" dirty="0" err="1">
                <a:solidFill>
                  <a:srgbClr val="C00000"/>
                </a:solidFill>
              </a:rPr>
              <a:t>nudged</a:t>
            </a:r>
            <a:r>
              <a:rPr lang="nb-NO" sz="1600" b="1" dirty="0">
                <a:solidFill>
                  <a:srgbClr val="C00000"/>
                </a:solidFill>
              </a:rPr>
              <a:t> to ERA40/ERA-Interim </a:t>
            </a:r>
            <a:r>
              <a:rPr lang="nb-NO" sz="1600" b="1" dirty="0" err="1">
                <a:solidFill>
                  <a:srgbClr val="C00000"/>
                </a:solidFill>
              </a:rPr>
              <a:t>using</a:t>
            </a:r>
            <a:r>
              <a:rPr lang="nb-NO" sz="1600" b="1" dirty="0">
                <a:solidFill>
                  <a:srgbClr val="C00000"/>
                </a:solidFill>
              </a:rPr>
              <a:t> 6-hr U,V,SP </a:t>
            </a:r>
            <a:r>
              <a:rPr lang="nb-NO" sz="1600" b="1" dirty="0" err="1">
                <a:solidFill>
                  <a:srgbClr val="C00000"/>
                </a:solidFill>
              </a:rPr>
              <a:t>anomalies</a:t>
            </a:r>
            <a:r>
              <a:rPr lang="nb-NO" sz="1600" b="1" dirty="0">
                <a:solidFill>
                  <a:srgbClr val="C00000"/>
                </a:solidFill>
              </a:rPr>
              <a:t> rel. to 1980–2010 </a:t>
            </a:r>
            <a:r>
              <a:rPr lang="nb-NO" sz="1600" b="1" dirty="0" err="1">
                <a:solidFill>
                  <a:srgbClr val="C00000"/>
                </a:solidFill>
              </a:rPr>
              <a:t>climatology</a:t>
            </a:r>
            <a:endParaRPr lang="nb-NO" b="1" dirty="0">
              <a:solidFill>
                <a:srgbClr val="C0000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dirty="0" err="1">
                <a:solidFill>
                  <a:srgbClr val="C00000"/>
                </a:solidFill>
              </a:rPr>
              <a:t>m</a:t>
            </a:r>
            <a:r>
              <a:rPr lang="nb-NO" sz="1600" dirty="0" err="1">
                <a:solidFill>
                  <a:srgbClr val="C00000"/>
                </a:solidFill>
              </a:rPr>
              <a:t>ethod</a:t>
            </a:r>
            <a:r>
              <a:rPr lang="nb-NO" sz="1600" dirty="0">
                <a:solidFill>
                  <a:srgbClr val="C00000"/>
                </a:solidFill>
              </a:rPr>
              <a:t> used in AGCM studies (Zhang et al. 2014, ACP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dirty="0" err="1">
                <a:solidFill>
                  <a:srgbClr val="C00000"/>
                </a:solidFill>
              </a:rPr>
              <a:t>forced</a:t>
            </a:r>
            <a:r>
              <a:rPr lang="nb-NO" dirty="0">
                <a:solidFill>
                  <a:srgbClr val="C00000"/>
                </a:solidFill>
              </a:rPr>
              <a:t> signal + </a:t>
            </a:r>
            <a:r>
              <a:rPr lang="nb-NO" dirty="0" err="1">
                <a:solidFill>
                  <a:srgbClr val="C00000"/>
                </a:solidFill>
              </a:rPr>
              <a:t>internal</a:t>
            </a:r>
            <a:r>
              <a:rPr lang="nb-NO" dirty="0">
                <a:solidFill>
                  <a:srgbClr val="C00000"/>
                </a:solidFill>
              </a:rPr>
              <a:t> </a:t>
            </a:r>
            <a:r>
              <a:rPr lang="nb-NO" dirty="0" err="1">
                <a:solidFill>
                  <a:srgbClr val="C00000"/>
                </a:solidFill>
              </a:rPr>
              <a:t>variability</a:t>
            </a:r>
            <a:r>
              <a:rPr lang="nb-NO" dirty="0">
                <a:solidFill>
                  <a:srgbClr val="C00000"/>
                </a:solidFill>
              </a:rPr>
              <a:t> in </a:t>
            </a:r>
            <a:r>
              <a:rPr lang="nb-NO" dirty="0" err="1">
                <a:solidFill>
                  <a:srgbClr val="C00000"/>
                </a:solidFill>
              </a:rPr>
              <a:t>sync</a:t>
            </a:r>
            <a:r>
              <a:rPr lang="nb-NO" dirty="0">
                <a:solidFill>
                  <a:srgbClr val="C00000"/>
                </a:solidFill>
              </a:rPr>
              <a:t>. </a:t>
            </a:r>
            <a:r>
              <a:rPr lang="nb-NO" dirty="0" err="1">
                <a:solidFill>
                  <a:srgbClr val="C00000"/>
                </a:solidFill>
              </a:rPr>
              <a:t>with</a:t>
            </a:r>
            <a:r>
              <a:rPr lang="nb-NO" dirty="0">
                <a:solidFill>
                  <a:srgbClr val="C00000"/>
                </a:solidFill>
              </a:rPr>
              <a:t> obs</a:t>
            </a:r>
          </a:p>
          <a:p>
            <a:pPr>
              <a:buFont typeface="Wingdings" pitchFamily="2" charset="2"/>
              <a:buChar char="Ø"/>
            </a:pPr>
            <a:endParaRPr lang="nb-NO" dirty="0">
              <a:solidFill>
                <a:srgbClr val="C000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1D0855F-3789-3570-23F3-0ED57873D624}"/>
              </a:ext>
            </a:extLst>
          </p:cNvPr>
          <p:cNvSpPr txBox="1"/>
          <p:nvPr/>
        </p:nvSpPr>
        <p:spPr>
          <a:xfrm rot="20604350">
            <a:off x="9490092" y="1338170"/>
            <a:ext cx="7374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00B050"/>
                </a:solidFill>
              </a:rPr>
              <a:t>new</a:t>
            </a:r>
          </a:p>
        </p:txBody>
      </p:sp>
      <p:pic>
        <p:nvPicPr>
          <p:cNvPr id="23" name="Picture 22" descr="Chart&#10;&#10;Description automatically generated">
            <a:extLst>
              <a:ext uri="{FF2B5EF4-FFF2-40B4-BE49-F238E27FC236}">
                <a16:creationId xmlns:a16="http://schemas.microsoft.com/office/drawing/2014/main" id="{1BF7FFC5-4CDD-05FB-6D37-7BF0CB8647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626" y="3369600"/>
            <a:ext cx="5537200" cy="240792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1EC3A6D-8304-8D20-02DA-45EA6ADF782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143046" y="3369600"/>
            <a:ext cx="5542280" cy="240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42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2665"/>
    </mc:Choice>
    <mc:Fallback xmlns="">
      <p:transition spd="slow" advTm="172665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North Atlantic </a:t>
            </a:r>
            <a:r>
              <a:rPr lang="nb-NO" sz="1800" dirty="0" err="1"/>
              <a:t>sea</a:t>
            </a:r>
            <a:r>
              <a:rPr lang="nb-NO" sz="1800" dirty="0"/>
              <a:t>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during </a:t>
            </a:r>
            <a:r>
              <a:rPr lang="nb-NO" sz="1800" dirty="0" err="1"/>
              <a:t>the</a:t>
            </a:r>
            <a:r>
              <a:rPr lang="nb-NO" sz="1800" dirty="0"/>
              <a:t> </a:t>
            </a:r>
            <a:r>
              <a:rPr lang="nb-NO" sz="1800" dirty="0" err="1"/>
              <a:t>satellite</a:t>
            </a:r>
            <a:r>
              <a:rPr lang="nb-NO" sz="1800" dirty="0"/>
              <a:t> </a:t>
            </a:r>
            <a:r>
              <a:rPr lang="nb-NO" sz="1800" dirty="0" err="1"/>
              <a:t>altimetry</a:t>
            </a:r>
            <a:r>
              <a:rPr lang="nb-NO" sz="1800" dirty="0"/>
              <a:t> </a:t>
            </a:r>
            <a:r>
              <a:rPr lang="nb-NO" sz="1800" dirty="0" err="1"/>
              <a:t>era</a:t>
            </a:r>
            <a:r>
              <a:rPr lang="nb-NO" sz="1800" dirty="0"/>
              <a:t> – FREE (global </a:t>
            </a:r>
            <a:r>
              <a:rPr lang="nb-NO" sz="1800" dirty="0" err="1"/>
              <a:t>mean</a:t>
            </a:r>
            <a:r>
              <a:rPr lang="nb-NO" sz="1800" dirty="0"/>
              <a:t> </a:t>
            </a:r>
            <a:r>
              <a:rPr lang="nb-NO" sz="1800" dirty="0" err="1"/>
              <a:t>subtracted</a:t>
            </a:r>
            <a:r>
              <a:rPr lang="nb-NO" sz="1800" dirty="0"/>
              <a:t>)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A7297A2-FA1A-69E4-D104-024A8FDD34E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39417" y="1299648"/>
            <a:ext cx="2947035" cy="146939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922FD65-2AF9-6AEB-F3C6-88FDB4109F9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39416" y="2781662"/>
            <a:ext cx="2947035" cy="146939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394484C-9262-C6EC-D512-DD6D63A9567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261533" y="1298724"/>
            <a:ext cx="2947035" cy="146939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10034F0-C0B1-7FAB-CF1F-D17E1307C9C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261533" y="2780738"/>
            <a:ext cx="2947035" cy="146939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BF8734C-8296-4B2B-66F6-8162974C80A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941038" y="1422747"/>
            <a:ext cx="4027169" cy="2468265"/>
          </a:xfrm>
          <a:prstGeom prst="rect">
            <a:avLst/>
          </a:prstGeom>
        </p:spPr>
      </p:pic>
      <p:pic>
        <p:nvPicPr>
          <p:cNvPr id="7" name="Picture 6" descr="Table&#10;&#10;Description automatically generated with low confidence">
            <a:extLst>
              <a:ext uri="{FF2B5EF4-FFF2-40B4-BE49-F238E27FC236}">
                <a16:creationId xmlns:a16="http://schemas.microsoft.com/office/drawing/2014/main" id="{66AF29A3-7BBF-B9D1-D41E-A2D7BF8D2D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0844" y="4467076"/>
            <a:ext cx="3710940" cy="5410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241BC66-A971-C259-D14F-A0DE3E4EA690}"/>
              </a:ext>
            </a:extLst>
          </p:cNvPr>
          <p:cNvSpPr txBox="1"/>
          <p:nvPr/>
        </p:nvSpPr>
        <p:spPr>
          <a:xfrm rot="16200000">
            <a:off x="234448" y="1864142"/>
            <a:ext cx="984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rgbClr val="0070C0"/>
                </a:solidFill>
              </a:rPr>
              <a:t>FRE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724678-3C10-8B64-70EC-C173BCE5B69D}"/>
              </a:ext>
            </a:extLst>
          </p:cNvPr>
          <p:cNvSpPr txBox="1"/>
          <p:nvPr/>
        </p:nvSpPr>
        <p:spPr>
          <a:xfrm rot="16200000">
            <a:off x="341998" y="3314407"/>
            <a:ext cx="769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/>
              <a:t>OB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3366CC-5AAD-6E62-D126-DD19919146CC}"/>
              </a:ext>
            </a:extLst>
          </p:cNvPr>
          <p:cNvSpPr txBox="1"/>
          <p:nvPr/>
        </p:nvSpPr>
        <p:spPr>
          <a:xfrm rot="16200000">
            <a:off x="10828916" y="1765773"/>
            <a:ext cx="984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>
                <a:solidFill>
                  <a:srgbClr val="0070C0"/>
                </a:solidFill>
              </a:rPr>
              <a:t>FRE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7ACB3E-DC6A-B2A8-203E-0D36E8A48131}"/>
              </a:ext>
            </a:extLst>
          </p:cNvPr>
          <p:cNvSpPr txBox="1"/>
          <p:nvPr/>
        </p:nvSpPr>
        <p:spPr>
          <a:xfrm rot="16200000">
            <a:off x="10936467" y="3264967"/>
            <a:ext cx="769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/>
              <a:t>OB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7074DC-7B3F-7626-1E48-3A6C567DA483}"/>
              </a:ext>
            </a:extLst>
          </p:cNvPr>
          <p:cNvSpPr txBox="1"/>
          <p:nvPr/>
        </p:nvSpPr>
        <p:spPr>
          <a:xfrm>
            <a:off x="1139089" y="4992618"/>
            <a:ext cx="22926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600"/>
              <a:t>1993–2004 linear trend</a:t>
            </a:r>
          </a:p>
        </p:txBody>
      </p:sp>
      <p:pic>
        <p:nvPicPr>
          <p:cNvPr id="22" name="Picture 21" descr="Table&#10;&#10;Description automatically generated with low confidence">
            <a:extLst>
              <a:ext uri="{FF2B5EF4-FFF2-40B4-BE49-F238E27FC236}">
                <a16:creationId xmlns:a16="http://schemas.microsoft.com/office/drawing/2014/main" id="{FD597CEB-DC9C-3899-7F73-226A95BD7B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57668" y="4467076"/>
            <a:ext cx="3710940" cy="54102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3B62D83-8E70-BB43-5859-62FC7CD72CB9}"/>
              </a:ext>
            </a:extLst>
          </p:cNvPr>
          <p:cNvSpPr txBox="1"/>
          <p:nvPr/>
        </p:nvSpPr>
        <p:spPr>
          <a:xfrm>
            <a:off x="8616280" y="4971132"/>
            <a:ext cx="22926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600"/>
              <a:t>2005–2016 linear tren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044614-051F-A653-4FA7-D8F2848B67B2}"/>
              </a:ext>
            </a:extLst>
          </p:cNvPr>
          <p:cNvSpPr txBox="1"/>
          <p:nvPr/>
        </p:nvSpPr>
        <p:spPr>
          <a:xfrm>
            <a:off x="4091220" y="3961458"/>
            <a:ext cx="41545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M</a:t>
            </a:r>
            <a:r>
              <a:rPr lang="en-NO" sz="1600" dirty="0"/>
              <a:t>onthly sea level anomalies (deseasoned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2BE9D5-136F-9B43-4F17-606721DF4C40}"/>
              </a:ext>
            </a:extLst>
          </p:cNvPr>
          <p:cNvSpPr txBox="1"/>
          <p:nvPr/>
        </p:nvSpPr>
        <p:spPr>
          <a:xfrm>
            <a:off x="4217391" y="4309423"/>
            <a:ext cx="3722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OBS: ARMOR3D (</a:t>
            </a:r>
            <a:r>
              <a:rPr lang="en-GB" sz="1200" dirty="0" err="1"/>
              <a:t>Guinehut</a:t>
            </a:r>
            <a:r>
              <a:rPr lang="en-GB" sz="1200" dirty="0"/>
              <a:t> et al. 2012, Ocean Sci.)</a:t>
            </a:r>
          </a:p>
        </p:txBody>
      </p:sp>
    </p:spTree>
    <p:extLst>
      <p:ext uri="{BB962C8B-B14F-4D97-AF65-F5344CB8AC3E}">
        <p14:creationId xmlns:p14="http://schemas.microsoft.com/office/powerpoint/2010/main" val="336954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364"/>
    </mc:Choice>
    <mc:Fallback xmlns="">
      <p:transition spd="slow" advTm="44364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10</TotalTime>
  <Words>1101</Words>
  <Application>Microsoft Macintosh PowerPoint</Application>
  <PresentationFormat>Widescreen</PresentationFormat>
  <Paragraphs>213</Paragraphs>
  <Slides>18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Arial</vt:lpstr>
      <vt:lpstr>Calibri</vt:lpstr>
      <vt:lpstr>Wingdings</vt:lpstr>
      <vt:lpstr>blank</vt:lpstr>
      <vt:lpstr>think-cell Slide</vt:lpstr>
      <vt:lpstr> Atmospheric circulation key driver of observed regional sea level change</vt:lpstr>
      <vt:lpstr>Sea level variability during the satellite altimetry era (1993–present)   </vt:lpstr>
      <vt:lpstr>Sea level variability during the satellite altimetry era (1993–present) – North Atlantic  </vt:lpstr>
      <vt:lpstr>Sea level variability during the satellite altimetry era (1993–present) – North Pacific  </vt:lpstr>
      <vt:lpstr>PowerPoint Presentation</vt:lpstr>
      <vt:lpstr>PowerPoint Presentation</vt:lpstr>
      <vt:lpstr>Experiments with the Norwegian Earth System Model (NorESM1, Bentsen et al. 2012) </vt:lpstr>
      <vt:lpstr>Experiments with the Norwegian Earth System Model (NorESM1, Bentsen et al. 2012) </vt:lpstr>
      <vt:lpstr>North Atlantic sea level variability during the satellite altimetry era – FREE (global mean subtracted) </vt:lpstr>
      <vt:lpstr>North Atlantic sea level variability during the satellite altimetry era – NUDGED (global mean subtracted) </vt:lpstr>
      <vt:lpstr>North Atlantic sea level variability during the satellite altimetry era – NUDGED (global mean subtracted) </vt:lpstr>
      <vt:lpstr>North Atlantic sea level variability during the satellite altimetry era – NUDGED (global mean included) </vt:lpstr>
      <vt:lpstr>North Pacific sea level variability during the satellite altimetry era – NUDGED (global mean included) </vt:lpstr>
      <vt:lpstr>Regional sea level variability – FREE</vt:lpstr>
      <vt:lpstr>Regional sea level variability – NUDGED</vt:lpstr>
      <vt:lpstr>Regional sea level variability – OBS minus internal variability (NUDGED-FREE)</vt:lpstr>
      <vt:lpstr>Regional sea level variability – OBS minus internal variability (NUDGED-FREE)</vt:lpstr>
      <vt:lpstr>Summar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2</cp:revision>
  <dcterms:created xsi:type="dcterms:W3CDTF">2019-06-05T13:39:33Z</dcterms:created>
  <dcterms:modified xsi:type="dcterms:W3CDTF">2023-02-13T04:43:08Z</dcterms:modified>
  <cp:category/>
</cp:coreProperties>
</file>